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11" r:id="rId4"/>
  </p:sldMasterIdLst>
  <p:notesMasterIdLst>
    <p:notesMasterId r:id="rId6"/>
  </p:notesMasterIdLst>
  <p:handoutMasterIdLst>
    <p:handoutMasterId r:id="rId7"/>
  </p:handoutMasterIdLst>
  <p:sldIdLst>
    <p:sldId id="2146847474" r:id="rId5"/>
  </p:sldIdLst>
  <p:sldSz cx="12192000" cy="6858000"/>
  <p:notesSz cx="7010400" cy="92964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44AC401-13B0-B591-DF22-F8443E0D70A2}" name="Andy Tse" initials="AT" userId="S::andy_tse@tcenergy.com::c60598db-337b-4e28-9e77-704fb021d632" providerId="AD"/>
  <p188:author id="{B49A8924-A545-DDC3-4C51-359CE4B9B97E}" name="Stephanie Barnier" initials="SB" userId="S::stephanie_barnier@tcenergy.com::c8c87623-1087-4727-bd74-43a461e15a8f" providerId="AD"/>
  <p188:author id="{4950A728-6CD3-561F-D998-497CAC3279CF}" name="Penelope Echenagusia" initials="" userId="S::penelope_echenagusia@tcenergy.com::2ddf7fa5-c1ed-4bb7-a2fd-ec7a4340bc1e" providerId="AD"/>
  <p188:author id="{8732B12B-1FD2-3D12-EAAA-B0DFCE98C784}" name="Cynthia Loke" initials="CL" userId="S::cynthia_loke@tcenergy.com::fb8df133-ac7d-41c6-8589-cb5286001e3c" providerId="AD"/>
  <p188:author id="{3810372E-B60B-B3F3-1E13-AD8DA1A41F02}" name="Jay White" initials="JW" userId="S::Jay_White@tcenergy.com::a54ead18-fa6d-4621-9c62-c24c71528150" providerId="AD"/>
  <p188:author id="{DD30D432-6ACF-CA49-B384-43620FB05E70}" name="Mike Knauff" initials="MK" userId="S::mike_knauff@tcenergy.com::10a6b429-0ec2-40c6-a3e5-eaf5edad020e" providerId="AD"/>
  <p188:author id="{F88BCF34-EB62-326F-5D5B-3BFB97EB18A0}" name="Jody Johnson" initials="JJ" userId="S::jody_johnson@tcenergy.com::75827879-125f-4b3a-93f1-6fc1988b39a0" providerId="AD"/>
  <p188:author id="{E2A1E750-CEB4-BD73-3013-F4754DBDCBEE}" name="Rosemary Stevens" initials="RS" userId="S::rosemary_stevens@tcenergy.com::90a4d542-aa06-43b2-a195-ec3a155ab9aa" providerId="AD"/>
  <p188:author id="{6A36CA5B-D362-C794-BB0D-A6A7ABEB8C0E}" name="Kevin D'Souza" initials="" userId="S::kevin_dsouza@tcenergy.com::20d84a8e-b1d0-4f1f-be1d-964787973870" providerId="AD"/>
  <p188:author id="{58C2105C-E161-1102-966C-55EC0F8E9435}" name="Christine Black" initials="CB" userId="S::christine_black@tcenergy.com::43abac0b-4184-45a0-8131-994cbcdb713a" providerId="AD"/>
  <p188:author id="{3EA5CF76-3200-F467-EE9E-CAFDCAA0D0F7}" name="Kelsey Johannson" initials="KJ" userId="S::kelsey_johannson@tcenergy.com::e7d89914-bc7e-421b-a59b-b44952b4e130" providerId="AD"/>
  <p188:author id="{C4858E78-8123-D785-C46B-01F7F65384A1}" name="Bernard Pelletier" initials="BP" userId="S::bernard_pelletier@tcenergy.com::ea5b845c-85c2-43be-be5a-acf2f1e149c1" providerId="AD"/>
  <p188:author id="{86F05D91-94F2-5C81-7300-325145192B7F}" name="Dana Sawatzky" initials="DS" userId="S::dana_sawatzky@tcenergy.com::ae9c6cba-a738-400f-911b-01627a4c0000" providerId="AD"/>
  <p188:author id="{18435493-B012-0EA5-4D94-8F19399A4E90}" name="Tyler Cook" initials="TC" userId="S::tyler_cook@tcenergy.com::2cd4b899-0ab6-4990-9ce6-7eb1692c23f9" providerId="AD"/>
  <p188:author id="{7C5B77A0-5E65-7637-4FB0-2B8A089B6372}" name="Gordon Penny" initials="" userId="S::gordon_penny@tcenergy.com::21ca1a9b-16b5-46d6-ae0f-08ce4ee9c3e0" providerId="AD"/>
  <p188:author id="{0F0A39A5-7764-DB9B-E024-DB34F7EA0C36}" name="Alan Matheson" initials="AM" userId="S::alan_matheson@tcenergy.com::59e14fee-7717-419f-898a-012fa0f33a69" providerId="AD"/>
  <p188:author id="{6D7B64A8-461E-6840-DE6F-4C02DF6591BA}" name="Emily Harradence" initials="EH" userId="S::emily_harradence@tcenergy.com::0e59b8a0-cf29-47ca-aae9-6fb96b87e597" providerId="AD"/>
  <p188:author id="{EACA0DAA-BAEA-78A0-E5A1-60B1F530B728}" name="Roman Karski" initials="RK" userId="S::roman_karski@tcenergy.com::b293a551-0ab9-4bcf-b139-b6e9c701446c" providerId="AD"/>
  <p188:author id="{9ABABCAB-3950-4A33-B4B4-0B533B19D885}" name="Cory Costanzo" initials="CC" userId="S::cory_costanzo@tcenergy.com::c149ecc1-4ef3-4028-8167-d783904c5783" providerId="AD"/>
  <p188:author id="{87030CAF-7434-418A-A702-279EDB00B4E9}" name="Megan Kozak" initials="MK" userId="S::megan_kozak@tcenergy.com::77952b0c-5e3a-4d44-9f40-94b5ef2b7e57" providerId="AD"/>
  <p188:author id="{17648FBE-F3F1-EC93-CCD7-DE51ED076900}" name="Brogen Solberg" initials="BS" userId="S::brogen_solberg@tcenergy.com::d60f5e52-265b-4464-b140-b2062383f0c7" providerId="AD"/>
  <p188:author id="{406CD4C1-58B4-690D-4885-DC5C1189AA6F}" name="Vanessa Swick" initials="VS" userId="S::vanessa_swick@tcenergy.com::16f43fba-e227-4242-ad55-744e58c6dea4" providerId="AD"/>
  <p188:author id="{B44E74C7-010C-1B8F-3339-EEF5937F8A45}" name="Colin Cooper" initials="CC" userId="S::colin_cooper@tcenergy.com::49072d84-30f5-4bda-9b1f-d0534af98515" providerId="AD"/>
  <p188:author id="{FBF7D5CA-B8C9-D911-A2EC-E46D935D7050}" name="Taylor Kimmett" initials="TK" userId="S::taylor_kimmett@tcenergy.com::82bad3f3-118f-484c-bb88-e03382b59e2d" providerId="AD"/>
  <p188:author id="{CE7586CF-F3BB-4614-569E-0F0A4381DCCC}" name="Veronica Rojas" initials="VR" userId="S::veronica_rojas@tcenergy.com::3945c8dd-4a56-4d1d-92a3-eac750159885" providerId="AD"/>
  <p188:author id="{DC97D9D4-1AE8-7473-C76F-CD142C177241}" name="Grant Kuntz" initials="GK" userId="S::grant_kuntz@tcenergy.com::a7d3c6cd-71df-49f7-86e4-b6a0a297aef5" providerId="AD"/>
  <p188:author id="{7CE47ADD-DBEB-18EE-2325-EFD9D4443C37}" name="Fraser Mount" initials="FM" userId="S::fraser_mount@tcenergy.com::0eac9619-32ff-4715-adac-81be76ccdf9b" providerId="AD"/>
  <p188:author id="{C4EC62E2-A81C-4E48-6FAA-0320C397CB5B}" name="Sara Bendall" initials="SB" userId="S::sara_bendall@tcenergy.com::c757beef-2ca5-4888-8214-26ceb22ad59b" providerId="AD"/>
  <p188:author id="{EE8A61F5-42D5-1DFF-6A02-983FC0F4113D}" name="Alex Harris" initials="AH" userId="S::alex_harris@tcenergy.com::cca9c9d6-d310-4fee-914c-b1427c0d07c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0AD75"/>
    <a:srgbClr val="FF0000"/>
    <a:srgbClr val="D9D9D9"/>
    <a:srgbClr val="FF9933"/>
    <a:srgbClr val="FF7C80"/>
    <a:srgbClr val="FF6600"/>
    <a:srgbClr val="F57000"/>
    <a:srgbClr val="FF66FF"/>
    <a:srgbClr val="33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9233168-CB99-481A-B3CA-446418CBC7CC}" v="3" dt="2024-07-02T22:12:36.11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678" y="102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E64CD73-4A79-DD4A-9A9F-3E82B06A725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6434"/>
          </a:xfrm>
          <a:prstGeom prst="rect">
            <a:avLst/>
          </a:prstGeom>
        </p:spPr>
        <p:txBody>
          <a:bodyPr vert="horz" lIns="93122" tIns="46562" rIns="93122" bIns="4656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F7155A-AC4D-DA44-BE36-FFF3EF26ACE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971"/>
            <a:ext cx="3037840" cy="466433"/>
          </a:xfrm>
          <a:prstGeom prst="rect">
            <a:avLst/>
          </a:prstGeom>
        </p:spPr>
        <p:txBody>
          <a:bodyPr vert="horz" lIns="93122" tIns="46562" rIns="93122" bIns="4656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0E8847-1E53-7344-AF6E-A604CD46E58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938" y="8829971"/>
            <a:ext cx="3037840" cy="466433"/>
          </a:xfrm>
          <a:prstGeom prst="rect">
            <a:avLst/>
          </a:prstGeom>
        </p:spPr>
        <p:txBody>
          <a:bodyPr vert="horz" lIns="93122" tIns="46562" rIns="93122" bIns="46562" rtlCol="0" anchor="b"/>
          <a:lstStyle>
            <a:lvl1pPr algn="r">
              <a:defRPr sz="1200"/>
            </a:lvl1pPr>
          </a:lstStyle>
          <a:p>
            <a:fld id="{E0B8D0DA-2686-AE40-9786-88D6391DD20D}" type="slidenum">
              <a:rPr lang="en-US" smtClean="0"/>
              <a:t>‹#›</a:t>
            </a:fld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0A44830-224C-4E1C-B74D-323A7B650FF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938" y="1"/>
            <a:ext cx="3037840" cy="466434"/>
          </a:xfrm>
          <a:prstGeom prst="rect">
            <a:avLst/>
          </a:prstGeom>
        </p:spPr>
        <p:txBody>
          <a:bodyPr vert="horz" lIns="93122" tIns="46562" rIns="93122" bIns="46562" rtlCol="0"/>
          <a:lstStyle>
            <a:lvl1pPr algn="r">
              <a:defRPr sz="1200"/>
            </a:lvl1pPr>
          </a:lstStyle>
          <a:p>
            <a:fld id="{4AD2F3D1-5D33-4E93-AEFB-8A96A2566DAC}" type="datetimeFigureOut">
              <a:rPr lang="en-US" smtClean="0"/>
              <a:t>7/2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39231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6434"/>
          </a:xfrm>
          <a:prstGeom prst="rect">
            <a:avLst/>
          </a:prstGeom>
        </p:spPr>
        <p:txBody>
          <a:bodyPr vert="horz" lIns="93122" tIns="46562" rIns="93122" bIns="4656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1"/>
            <a:ext cx="3037840" cy="466434"/>
          </a:xfrm>
          <a:prstGeom prst="rect">
            <a:avLst/>
          </a:prstGeom>
        </p:spPr>
        <p:txBody>
          <a:bodyPr vert="horz" lIns="93122" tIns="46562" rIns="93122" bIns="46562" rtlCol="0"/>
          <a:lstStyle>
            <a:lvl1pPr algn="r">
              <a:defRPr sz="1200"/>
            </a:lvl1pPr>
          </a:lstStyle>
          <a:p>
            <a:fld id="{2C64BA07-456C-9345-947A-A8F52B4DC3AE}" type="datetimeFigureOut">
              <a:rPr lang="en-US" smtClean="0"/>
              <a:t>7/2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22" tIns="46562" rIns="93122" bIns="465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22" tIns="46562" rIns="93122" bIns="4656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71"/>
            <a:ext cx="3037840" cy="466433"/>
          </a:xfrm>
          <a:prstGeom prst="rect">
            <a:avLst/>
          </a:prstGeom>
        </p:spPr>
        <p:txBody>
          <a:bodyPr vert="horz" lIns="93122" tIns="46562" rIns="93122" bIns="4656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71"/>
            <a:ext cx="3037840" cy="466433"/>
          </a:xfrm>
          <a:prstGeom prst="rect">
            <a:avLst/>
          </a:prstGeom>
        </p:spPr>
        <p:txBody>
          <a:bodyPr vert="horz" lIns="93122" tIns="46562" rIns="93122" bIns="46562" rtlCol="0" anchor="b"/>
          <a:lstStyle>
            <a:lvl1pPr algn="r">
              <a:defRPr sz="1200"/>
            </a:lvl1pPr>
          </a:lstStyle>
          <a:p>
            <a:fld id="{C77C5EF6-221F-AB4A-895C-6F4F3F278B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03698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7C5EF6-221F-AB4A-895C-6F4F3F278B3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94545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11.png"/><Relationship Id="rId5" Type="http://schemas.openxmlformats.org/officeDocument/2006/relationships/image" Target="../media/image20.jpe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11.png"/><Relationship Id="rId5" Type="http://schemas.openxmlformats.org/officeDocument/2006/relationships/image" Target="../media/image21.jpe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6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5" Type="http://schemas.openxmlformats.org/officeDocument/2006/relationships/image" Target="../media/image30.jpe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oleObject" Target="../embeddings/oleObject20.bin"/><Relationship Id="rId7" Type="http://schemas.openxmlformats.org/officeDocument/2006/relationships/image" Target="../media/image3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1.emf"/><Relationship Id="rId9" Type="http://schemas.openxmlformats.org/officeDocument/2006/relationships/image" Target="../media/image35.sv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openxmlformats.org/officeDocument/2006/relationships/image" Target="../media/image37.svg"/><Relationship Id="rId5" Type="http://schemas.openxmlformats.org/officeDocument/2006/relationships/image" Target="../media/image36.pn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sv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7" Type="http://schemas.openxmlformats.org/officeDocument/2006/relationships/image" Target="../media/image40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6" Type="http://schemas.openxmlformats.org/officeDocument/2006/relationships/image" Target="../media/image3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svg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svg"/><Relationship Id="rId3" Type="http://schemas.openxmlformats.org/officeDocument/2006/relationships/image" Target="../media/image42.png"/><Relationship Id="rId7" Type="http://schemas.openxmlformats.org/officeDocument/2006/relationships/image" Target="../media/image46.png"/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5.svg"/><Relationship Id="rId5" Type="http://schemas.openxmlformats.org/officeDocument/2006/relationships/image" Target="../media/image44.png"/><Relationship Id="rId10" Type="http://schemas.openxmlformats.org/officeDocument/2006/relationships/image" Target="../media/image12.svg"/><Relationship Id="rId4" Type="http://schemas.openxmlformats.org/officeDocument/2006/relationships/image" Target="../media/image43.svg"/><Relationship Id="rId9" Type="http://schemas.openxmlformats.org/officeDocument/2006/relationships/image" Target="../media/image11.png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svg"/><Relationship Id="rId3" Type="http://schemas.openxmlformats.org/officeDocument/2006/relationships/image" Target="../media/image42.png"/><Relationship Id="rId7" Type="http://schemas.openxmlformats.org/officeDocument/2006/relationships/image" Target="../media/image46.png"/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5.svg"/><Relationship Id="rId5" Type="http://schemas.openxmlformats.org/officeDocument/2006/relationships/image" Target="../media/image44.png"/><Relationship Id="rId10" Type="http://schemas.openxmlformats.org/officeDocument/2006/relationships/image" Target="../media/image12.svg"/><Relationship Id="rId4" Type="http://schemas.openxmlformats.org/officeDocument/2006/relationships/image" Target="../media/image43.svg"/><Relationship Id="rId9" Type="http://schemas.openxmlformats.org/officeDocument/2006/relationships/image" Target="../media/image11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openxmlformats.org/officeDocument/2006/relationships/image" Target="../media/image6.png"/><Relationship Id="rId5" Type="http://schemas.openxmlformats.org/officeDocument/2006/relationships/image" Target="../media/image19.jpeg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21.jpeg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7" Type="http://schemas.openxmlformats.org/officeDocument/2006/relationships/image" Target="../media/image48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6" Type="http://schemas.openxmlformats.org/officeDocument/2006/relationships/image" Target="../media/image25.png"/><Relationship Id="rId5" Type="http://schemas.openxmlformats.org/officeDocument/2006/relationships/image" Target="../media/image20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7" Type="http://schemas.openxmlformats.org/officeDocument/2006/relationships/image" Target="../media/image15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sv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sv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7" Type="http://schemas.openxmlformats.org/officeDocument/2006/relationships/image" Target="../media/image52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6" Type="http://schemas.openxmlformats.org/officeDocument/2006/relationships/image" Target="../media/image5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7" Type="http://schemas.openxmlformats.org/officeDocument/2006/relationships/image" Target="../media/image5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6" Type="http://schemas.openxmlformats.org/officeDocument/2006/relationships/image" Target="../media/image5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6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8.sv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0.sv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2.sv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5" Type="http://schemas.openxmlformats.org/officeDocument/2006/relationships/image" Target="../media/image30.jpeg"/><Relationship Id="rId4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7" Type="http://schemas.openxmlformats.org/officeDocument/2006/relationships/image" Target="../media/image12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5" Type="http://schemas.openxmlformats.org/officeDocument/2006/relationships/image" Target="../media/image63.png"/><Relationship Id="rId4" Type="http://schemas.openxmlformats.org/officeDocument/2006/relationships/image" Target="../media/image1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5" Type="http://schemas.openxmlformats.org/officeDocument/2006/relationships/image" Target="../media/image31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Relationship Id="rId4" Type="http://schemas.openxmlformats.org/officeDocument/2006/relationships/image" Target="../media/image1.emf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svg"/><Relationship Id="rId3" Type="http://schemas.openxmlformats.org/officeDocument/2006/relationships/image" Target="../media/image8.jpeg"/><Relationship Id="rId7" Type="http://schemas.openxmlformats.org/officeDocument/2006/relationships/image" Target="../media/image6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Relationship Id="rId6" Type="http://schemas.openxmlformats.org/officeDocument/2006/relationships/image" Target="../media/image6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svg"/><Relationship Id="rId3" Type="http://schemas.openxmlformats.org/officeDocument/2006/relationships/image" Target="../media/image67.jpeg"/><Relationship Id="rId7" Type="http://schemas.openxmlformats.org/officeDocument/2006/relationships/image" Target="../media/image6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Relationship Id="rId6" Type="http://schemas.openxmlformats.org/officeDocument/2006/relationships/image" Target="../media/image6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svg"/><Relationship Id="rId3" Type="http://schemas.openxmlformats.org/officeDocument/2006/relationships/image" Target="../media/image69.jpeg"/><Relationship Id="rId7" Type="http://schemas.openxmlformats.org/officeDocument/2006/relationships/image" Target="../media/image7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Relationship Id="rId6" Type="http://schemas.openxmlformats.org/officeDocument/2006/relationships/image" Target="../media/image7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oleObject" Target="../embeddings/oleObject46.bin"/><Relationship Id="rId7" Type="http://schemas.openxmlformats.org/officeDocument/2006/relationships/image" Target="../media/image3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1.emf"/><Relationship Id="rId9" Type="http://schemas.openxmlformats.org/officeDocument/2006/relationships/image" Target="../media/image35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svg"/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6.svg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u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F63071F-A127-4021-9495-7B92FB9302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0648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F63071F-A127-4021-9495-7B92FB9302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256559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 Slide C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5197D6-0424-E841-8E7C-5CE7BCB142C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839984"/>
            <a:ext cx="10521950" cy="413781"/>
          </a:xfrm>
        </p:spPr>
        <p:txBody>
          <a:bodyPr lIns="0" anchor="t">
            <a:normAutofit/>
          </a:bodyPr>
          <a:lstStyle>
            <a:lvl1pPr marL="0" indent="0">
              <a:buNone/>
              <a:defRPr sz="1800" b="0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1DDD94-83AE-854D-AA85-D405490CA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868D98-9614-6F4D-9879-BC271C28C5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9" y="226219"/>
            <a:ext cx="5071947" cy="365125"/>
          </a:xfrm>
        </p:spPr>
        <p:txBody>
          <a:bodyPr lIns="0"/>
          <a:lstStyle>
            <a:lvl1pPr>
              <a:defRPr>
                <a:solidFill>
                  <a:srgbClr val="3FCFD5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6A226-FB73-094F-8B9B-9EE2B6DCCC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257B1AC-5A0A-4D07-9F34-5AE77C9A3C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631676"/>
            <a:ext cx="10521950" cy="3240000"/>
          </a:xfrm>
        </p:spPr>
        <p:txBody>
          <a:bodyPr lIns="0" anchor="ctr">
            <a:normAutofit/>
          </a:bodyPr>
          <a:lstStyle>
            <a:lvl1pPr>
              <a:defRPr sz="48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8AF9724-AC9D-4423-A69A-2221155A0DE1}"/>
              </a:ext>
            </a:extLst>
          </p:cNvPr>
          <p:cNvGrpSpPr/>
          <p:nvPr userDrawn="1"/>
        </p:nvGrpSpPr>
        <p:grpSpPr>
          <a:xfrm>
            <a:off x="5965074" y="6408183"/>
            <a:ext cx="261852" cy="261455"/>
            <a:chOff x="1830159" y="2890771"/>
            <a:chExt cx="588560" cy="587668"/>
          </a:xfrm>
          <a:solidFill>
            <a:schemeClr val="bg1"/>
          </a:solidFill>
        </p:grpSpPr>
        <p:sp>
          <p:nvSpPr>
            <p:cNvPr id="12" name="Rectangle 15">
              <a:extLst>
                <a:ext uri="{FF2B5EF4-FFF2-40B4-BE49-F238E27FC236}">
                  <a16:creationId xmlns:a16="http://schemas.microsoft.com/office/drawing/2014/main" id="{8B8F99BE-3F30-4329-BD10-7254E11BC70E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5">
              <a:extLst>
                <a:ext uri="{FF2B5EF4-FFF2-40B4-BE49-F238E27FC236}">
                  <a16:creationId xmlns:a16="http://schemas.microsoft.com/office/drawing/2014/main" id="{602C4F5D-3AB0-4A97-A16A-3B3D36AEA89C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360785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 Content Left A - Blue BG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267D1C7-D7FE-4287-9127-2687B06D87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1854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6267D1C7-D7FE-4287-9127-2687B06D87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2FFCA922-2517-454F-AC11-4E2CF3CC0F3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64EF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1DDD94-83AE-854D-AA85-D405490CA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868D98-9614-6F4D-9879-BC271C28C5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8" y="226219"/>
            <a:ext cx="5366657" cy="365125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34BF340-D494-764D-9A47-5C5D338CE391}"/>
              </a:ext>
            </a:extLst>
          </p:cNvPr>
          <p:cNvCxnSpPr>
            <a:cxnSpLocks/>
          </p:cNvCxnSpPr>
          <p:nvPr userDrawn="1"/>
        </p:nvCxnSpPr>
        <p:spPr>
          <a:xfrm>
            <a:off x="838199" y="6291060"/>
            <a:ext cx="4912156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le 1">
            <a:extLst>
              <a:ext uri="{FF2B5EF4-FFF2-40B4-BE49-F238E27FC236}">
                <a16:creationId xmlns:a16="http://schemas.microsoft.com/office/drawing/2014/main" id="{9EACD14E-3A5E-8D43-BC54-0BECAB9BF8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681037"/>
            <a:ext cx="5366657" cy="1177811"/>
          </a:xfrm>
        </p:spPr>
        <p:txBody>
          <a:bodyPr vert="horz" lIns="0" anchor="b">
            <a:noAutofit/>
          </a:bodyPr>
          <a:lstStyle>
            <a:lvl1pPr>
              <a:lnSpc>
                <a:spcPct val="80000"/>
              </a:lnSpc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DB545FF1-6901-E241-AC06-FB93F7BD485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8199" y="1948541"/>
            <a:ext cx="4912156" cy="4047447"/>
          </a:xfrm>
        </p:spPr>
        <p:txBody>
          <a:bodyPr lIns="0"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D8FF389-3BA2-43E1-BC8E-A4C38CF92D1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884863" y="0"/>
            <a:ext cx="6307137" cy="6858000"/>
          </a:xfrm>
          <a:custGeom>
            <a:avLst/>
            <a:gdLst>
              <a:gd name="connsiteX0" fmla="*/ 431961 w 6307137"/>
              <a:gd name="connsiteY0" fmla="*/ 0 h 6858000"/>
              <a:gd name="connsiteX1" fmla="*/ 6307137 w 6307137"/>
              <a:gd name="connsiteY1" fmla="*/ 0 h 6858000"/>
              <a:gd name="connsiteX2" fmla="*/ 6307137 w 6307137"/>
              <a:gd name="connsiteY2" fmla="*/ 6858000 h 6858000"/>
              <a:gd name="connsiteX3" fmla="*/ 0 w 6307137"/>
              <a:gd name="connsiteY3" fmla="*/ 6858000 h 6858000"/>
              <a:gd name="connsiteX4" fmla="*/ 0 w 6307137"/>
              <a:gd name="connsiteY4" fmla="*/ 1948540 h 6858000"/>
              <a:gd name="connsiteX5" fmla="*/ 431961 w 6307137"/>
              <a:gd name="connsiteY5" fmla="*/ 194854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07137" h="6858000">
                <a:moveTo>
                  <a:pt x="431961" y="0"/>
                </a:moveTo>
                <a:lnTo>
                  <a:pt x="6307137" y="0"/>
                </a:lnTo>
                <a:lnTo>
                  <a:pt x="6307137" y="6858000"/>
                </a:lnTo>
                <a:lnTo>
                  <a:pt x="0" y="6858000"/>
                </a:lnTo>
                <a:lnTo>
                  <a:pt x="0" y="1948540"/>
                </a:lnTo>
                <a:lnTo>
                  <a:pt x="431961" y="1948540"/>
                </a:lnTo>
                <a:close/>
              </a:path>
            </a:pathLst>
          </a:custGeom>
          <a:pattFill prst="pct5">
            <a:fgClr>
              <a:schemeClr val="accent1"/>
            </a:fgClr>
            <a:bgClr>
              <a:schemeClr val="bg1">
                <a:lumMod val="95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70C78FDC-26C5-47AE-8377-B093E46A79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05056" y="6365182"/>
            <a:ext cx="51919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41BCAC5-0885-448C-AF14-39C64FC18B28}"/>
              </a:ext>
            </a:extLst>
          </p:cNvPr>
          <p:cNvSpPr/>
          <p:nvPr userDrawn="1"/>
        </p:nvSpPr>
        <p:spPr>
          <a:xfrm rot="16200000">
            <a:off x="5320632" y="952998"/>
            <a:ext cx="1945365" cy="45719"/>
          </a:xfrm>
          <a:prstGeom prst="rect">
            <a:avLst/>
          </a:prstGeom>
          <a:solidFill>
            <a:srgbClr val="C1F5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AB4AA75-F0BF-4030-9BE2-A90458BD3FFF}"/>
              </a:ext>
            </a:extLst>
          </p:cNvPr>
          <p:cNvSpPr/>
          <p:nvPr userDrawn="1"/>
        </p:nvSpPr>
        <p:spPr>
          <a:xfrm rot="16200000">
            <a:off x="3410625" y="4380407"/>
            <a:ext cx="4909453" cy="45719"/>
          </a:xfrm>
          <a:prstGeom prst="rect">
            <a:avLst/>
          </a:prstGeom>
          <a:solidFill>
            <a:srgbClr val="C1F5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787730E7-B2E7-484F-9B70-EB0A45344DC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5400000">
            <a:off x="6002005" y="1688998"/>
            <a:ext cx="195645" cy="195645"/>
          </a:xfrm>
          <a:prstGeom prst="rect">
            <a:avLst/>
          </a:prstGeom>
        </p:spPr>
      </p:pic>
      <p:grpSp>
        <p:nvGrpSpPr>
          <p:cNvPr id="25" name="Group 24">
            <a:extLst>
              <a:ext uri="{FF2B5EF4-FFF2-40B4-BE49-F238E27FC236}">
                <a16:creationId xmlns:a16="http://schemas.microsoft.com/office/drawing/2014/main" id="{34E3C727-BCD5-43E2-ABAC-BE6B849BC3E8}"/>
              </a:ext>
            </a:extLst>
          </p:cNvPr>
          <p:cNvGrpSpPr/>
          <p:nvPr userDrawn="1"/>
        </p:nvGrpSpPr>
        <p:grpSpPr>
          <a:xfrm>
            <a:off x="5488503" y="6408183"/>
            <a:ext cx="261852" cy="261455"/>
            <a:chOff x="1830159" y="2890771"/>
            <a:chExt cx="588560" cy="587668"/>
          </a:xfrm>
          <a:solidFill>
            <a:schemeClr val="bg1"/>
          </a:solidFill>
        </p:grpSpPr>
        <p:sp>
          <p:nvSpPr>
            <p:cNvPr id="26" name="Rectangle 15">
              <a:extLst>
                <a:ext uri="{FF2B5EF4-FFF2-40B4-BE49-F238E27FC236}">
                  <a16:creationId xmlns:a16="http://schemas.microsoft.com/office/drawing/2014/main" id="{6325E71B-A95D-4434-B101-15D2F94C73F7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tangle 15">
              <a:extLst>
                <a:ext uri="{FF2B5EF4-FFF2-40B4-BE49-F238E27FC236}">
                  <a16:creationId xmlns:a16="http://schemas.microsoft.com/office/drawing/2014/main" id="{E375118D-7723-4542-915E-6BBA6588BC68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850040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 Content Left B - Black BG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267D1C7-D7FE-4287-9127-2687B06D87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28471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6267D1C7-D7FE-4287-9127-2687B06D87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E1E500DE-609B-48DB-8975-DF9926DB5AA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91919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1DDD94-83AE-854D-AA85-D405490CA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868D98-9614-6F4D-9879-BC271C28C5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8" y="226219"/>
            <a:ext cx="5366657" cy="365125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EACD14E-3A5E-8D43-BC54-0BECAB9BF8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681037"/>
            <a:ext cx="5366657" cy="1177811"/>
          </a:xfrm>
        </p:spPr>
        <p:txBody>
          <a:bodyPr vert="horz" lIns="0" anchor="b">
            <a:noAutofit/>
          </a:bodyPr>
          <a:lstStyle>
            <a:lvl1pPr>
              <a:lnSpc>
                <a:spcPct val="80000"/>
              </a:lnSpc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DB545FF1-6901-E241-AC06-FB93F7BD485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8199" y="1948541"/>
            <a:ext cx="4912156" cy="4047447"/>
          </a:xfrm>
        </p:spPr>
        <p:txBody>
          <a:bodyPr lIns="0"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Clr>
                <a:srgbClr val="3FCFD5"/>
              </a:buClr>
              <a:buFontTx/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D8FF389-3BA2-43E1-BC8E-A4C38CF92D1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884863" y="0"/>
            <a:ext cx="6307137" cy="6858000"/>
          </a:xfrm>
          <a:custGeom>
            <a:avLst/>
            <a:gdLst>
              <a:gd name="connsiteX0" fmla="*/ 431961 w 6307137"/>
              <a:gd name="connsiteY0" fmla="*/ 0 h 6858000"/>
              <a:gd name="connsiteX1" fmla="*/ 6307137 w 6307137"/>
              <a:gd name="connsiteY1" fmla="*/ 0 h 6858000"/>
              <a:gd name="connsiteX2" fmla="*/ 6307137 w 6307137"/>
              <a:gd name="connsiteY2" fmla="*/ 6858000 h 6858000"/>
              <a:gd name="connsiteX3" fmla="*/ 0 w 6307137"/>
              <a:gd name="connsiteY3" fmla="*/ 6858000 h 6858000"/>
              <a:gd name="connsiteX4" fmla="*/ 0 w 6307137"/>
              <a:gd name="connsiteY4" fmla="*/ 1948540 h 6858000"/>
              <a:gd name="connsiteX5" fmla="*/ 431961 w 6307137"/>
              <a:gd name="connsiteY5" fmla="*/ 194854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07137" h="6858000">
                <a:moveTo>
                  <a:pt x="431961" y="0"/>
                </a:moveTo>
                <a:lnTo>
                  <a:pt x="6307137" y="0"/>
                </a:lnTo>
                <a:lnTo>
                  <a:pt x="6307137" y="6858000"/>
                </a:lnTo>
                <a:lnTo>
                  <a:pt x="0" y="6858000"/>
                </a:lnTo>
                <a:lnTo>
                  <a:pt x="0" y="1948540"/>
                </a:lnTo>
                <a:lnTo>
                  <a:pt x="431961" y="1948540"/>
                </a:lnTo>
                <a:close/>
              </a:path>
            </a:pathLst>
          </a:custGeom>
          <a:pattFill prst="pct5">
            <a:fgClr>
              <a:schemeClr val="accent1"/>
            </a:fgClr>
            <a:bgClr>
              <a:schemeClr val="bg1">
                <a:lumMod val="95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70C78FDC-26C5-47AE-8377-B093E46A79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05056" y="6365182"/>
            <a:ext cx="51919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FE74049-57BE-4147-932C-FAD1CFAD041A}"/>
              </a:ext>
            </a:extLst>
          </p:cNvPr>
          <p:cNvSpPr/>
          <p:nvPr userDrawn="1"/>
        </p:nvSpPr>
        <p:spPr>
          <a:xfrm rot="16200000">
            <a:off x="5320632" y="952998"/>
            <a:ext cx="1945365" cy="45719"/>
          </a:xfrm>
          <a:prstGeom prst="rect">
            <a:avLst/>
          </a:prstGeom>
          <a:solidFill>
            <a:srgbClr val="C1F5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E037173-B0F0-47CF-89BB-BCB1CA6BE833}"/>
              </a:ext>
            </a:extLst>
          </p:cNvPr>
          <p:cNvSpPr/>
          <p:nvPr userDrawn="1"/>
        </p:nvSpPr>
        <p:spPr>
          <a:xfrm rot="16200000">
            <a:off x="3410625" y="4380407"/>
            <a:ext cx="4909453" cy="45719"/>
          </a:xfrm>
          <a:prstGeom prst="rect">
            <a:avLst/>
          </a:prstGeom>
          <a:solidFill>
            <a:srgbClr val="C1F5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471CBACB-9731-4E85-B6AD-8A2DFAAB265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5400000">
            <a:off x="6002005" y="1688998"/>
            <a:ext cx="195645" cy="195645"/>
          </a:xfrm>
          <a:prstGeom prst="rect">
            <a:avLst/>
          </a:prstGeom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C9B3273-0471-4C66-AC70-25E0F80E2B68}"/>
              </a:ext>
            </a:extLst>
          </p:cNvPr>
          <p:cNvCxnSpPr>
            <a:cxnSpLocks/>
          </p:cNvCxnSpPr>
          <p:nvPr userDrawn="1"/>
        </p:nvCxnSpPr>
        <p:spPr>
          <a:xfrm>
            <a:off x="838199" y="6291060"/>
            <a:ext cx="4912156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01785AB-B989-4334-925C-98A1F07490C8}"/>
              </a:ext>
            </a:extLst>
          </p:cNvPr>
          <p:cNvGrpSpPr/>
          <p:nvPr userDrawn="1"/>
        </p:nvGrpSpPr>
        <p:grpSpPr>
          <a:xfrm>
            <a:off x="5488503" y="6408183"/>
            <a:ext cx="261852" cy="261455"/>
            <a:chOff x="1830159" y="2890771"/>
            <a:chExt cx="588560" cy="587668"/>
          </a:xfrm>
          <a:solidFill>
            <a:schemeClr val="bg1"/>
          </a:solidFill>
        </p:grpSpPr>
        <p:sp>
          <p:nvSpPr>
            <p:cNvPr id="23" name="Rectangle 15">
              <a:extLst>
                <a:ext uri="{FF2B5EF4-FFF2-40B4-BE49-F238E27FC236}">
                  <a16:creationId xmlns:a16="http://schemas.microsoft.com/office/drawing/2014/main" id="{C3AC069F-5599-4AA8-816A-FB1DCEF8307A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15">
              <a:extLst>
                <a:ext uri="{FF2B5EF4-FFF2-40B4-BE49-F238E27FC236}">
                  <a16:creationId xmlns:a16="http://schemas.microsoft.com/office/drawing/2014/main" id="{DEA537A5-4DCF-42CE-9F40-43319AF536D8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667546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 Content Left C - White BG">
    <p:bg>
      <p:bgPr>
        <a:blipFill dpi="0" rotWithShape="1">
          <a:blip r:embed="rId3">
            <a:alphaModFix amt="35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267D1C7-D7FE-4287-9127-2687B06D87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04113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6267D1C7-D7FE-4287-9127-2687B06D87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1DDD94-83AE-854D-AA85-D405490CA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/>
          <a:lstStyle>
            <a:lvl1pPr>
              <a:defRPr cap="all" baseline="0">
                <a:solidFill>
                  <a:srgbClr val="191919"/>
                </a:solidFill>
              </a:defRPr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868D98-9614-6F4D-9879-BC271C28C5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8" y="226219"/>
            <a:ext cx="5366657" cy="365125"/>
          </a:xfrm>
        </p:spPr>
        <p:txBody>
          <a:bodyPr lIns="0"/>
          <a:lstStyle>
            <a:lvl1pPr>
              <a:defRPr>
                <a:solidFill>
                  <a:srgbClr val="191919"/>
                </a:solidFill>
              </a:defRPr>
            </a:lvl1pPr>
          </a:lstStyle>
          <a:p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EACD14E-3A5E-8D43-BC54-0BECAB9BF8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681037"/>
            <a:ext cx="5366657" cy="1177811"/>
          </a:xfrm>
        </p:spPr>
        <p:txBody>
          <a:bodyPr vert="horz" lIns="0" anchor="b">
            <a:noAutofit/>
          </a:bodyPr>
          <a:lstStyle>
            <a:lvl1pPr>
              <a:lnSpc>
                <a:spcPct val="80000"/>
              </a:lnSpc>
              <a:defRPr sz="3600">
                <a:solidFill>
                  <a:srgbClr val="0D64EF"/>
                </a:solidFill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DB545FF1-6901-E241-AC06-FB93F7BD485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8198" y="1948541"/>
            <a:ext cx="4912157" cy="4047447"/>
          </a:xfrm>
        </p:spPr>
        <p:txBody>
          <a:bodyPr lIns="0"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rgbClr val="191919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D8FF389-3BA2-43E1-BC8E-A4C38CF92D1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874230" y="0"/>
            <a:ext cx="6307137" cy="6858000"/>
          </a:xfrm>
          <a:custGeom>
            <a:avLst/>
            <a:gdLst>
              <a:gd name="connsiteX0" fmla="*/ 431961 w 6307137"/>
              <a:gd name="connsiteY0" fmla="*/ 0 h 6858000"/>
              <a:gd name="connsiteX1" fmla="*/ 6307137 w 6307137"/>
              <a:gd name="connsiteY1" fmla="*/ 0 h 6858000"/>
              <a:gd name="connsiteX2" fmla="*/ 6307137 w 6307137"/>
              <a:gd name="connsiteY2" fmla="*/ 6858000 h 6858000"/>
              <a:gd name="connsiteX3" fmla="*/ 0 w 6307137"/>
              <a:gd name="connsiteY3" fmla="*/ 6858000 h 6858000"/>
              <a:gd name="connsiteX4" fmla="*/ 0 w 6307137"/>
              <a:gd name="connsiteY4" fmla="*/ 1948540 h 6858000"/>
              <a:gd name="connsiteX5" fmla="*/ 431961 w 6307137"/>
              <a:gd name="connsiteY5" fmla="*/ 194854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07137" h="6858000">
                <a:moveTo>
                  <a:pt x="431961" y="0"/>
                </a:moveTo>
                <a:lnTo>
                  <a:pt x="6307137" y="0"/>
                </a:lnTo>
                <a:lnTo>
                  <a:pt x="6307137" y="6858000"/>
                </a:lnTo>
                <a:lnTo>
                  <a:pt x="0" y="6858000"/>
                </a:lnTo>
                <a:lnTo>
                  <a:pt x="0" y="1948540"/>
                </a:lnTo>
                <a:lnTo>
                  <a:pt x="431961" y="1948540"/>
                </a:lnTo>
                <a:close/>
              </a:path>
            </a:pathLst>
          </a:custGeom>
          <a:pattFill prst="pct5">
            <a:fgClr>
              <a:schemeClr val="accent1"/>
            </a:fgClr>
            <a:bgClr>
              <a:schemeClr val="bg1">
                <a:lumMod val="95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70C78FDC-26C5-47AE-8377-B093E46A79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05056" y="6365182"/>
            <a:ext cx="51919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A9E03AD-7469-48F0-8653-6624500574CD}"/>
              </a:ext>
            </a:extLst>
          </p:cNvPr>
          <p:cNvSpPr/>
          <p:nvPr userDrawn="1"/>
        </p:nvSpPr>
        <p:spPr>
          <a:xfrm rot="16200000">
            <a:off x="5315316" y="947680"/>
            <a:ext cx="1955997" cy="45719"/>
          </a:xfrm>
          <a:prstGeom prst="rect">
            <a:avLst/>
          </a:prstGeom>
          <a:solidFill>
            <a:srgbClr val="0D64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8FB8945-9F9E-4947-8210-F64FC24485F5}"/>
              </a:ext>
            </a:extLst>
          </p:cNvPr>
          <p:cNvSpPr/>
          <p:nvPr userDrawn="1"/>
        </p:nvSpPr>
        <p:spPr>
          <a:xfrm rot="16200000">
            <a:off x="3410625" y="4380407"/>
            <a:ext cx="4909453" cy="45719"/>
          </a:xfrm>
          <a:prstGeom prst="rect">
            <a:avLst/>
          </a:prstGeom>
          <a:solidFill>
            <a:srgbClr val="0D64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D5D17E21-926E-45AD-AA01-F5A434D116A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5400000">
            <a:off x="6002005" y="1688998"/>
            <a:ext cx="195645" cy="195645"/>
          </a:xfrm>
          <a:prstGeom prst="rect">
            <a:avLst/>
          </a:prstGeom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E30413F-E719-49DA-8114-11931687A75E}"/>
              </a:ext>
            </a:extLst>
          </p:cNvPr>
          <p:cNvCxnSpPr>
            <a:cxnSpLocks/>
          </p:cNvCxnSpPr>
          <p:nvPr userDrawn="1"/>
        </p:nvCxnSpPr>
        <p:spPr>
          <a:xfrm>
            <a:off x="838199" y="6291060"/>
            <a:ext cx="4912156" cy="0"/>
          </a:xfrm>
          <a:prstGeom prst="line">
            <a:avLst/>
          </a:prstGeom>
          <a:ln w="19050">
            <a:solidFill>
              <a:srgbClr val="1919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9B8DDF8-5B8C-4E57-A0F7-6FFA772C0BC2}"/>
              </a:ext>
            </a:extLst>
          </p:cNvPr>
          <p:cNvGrpSpPr/>
          <p:nvPr userDrawn="1"/>
        </p:nvGrpSpPr>
        <p:grpSpPr>
          <a:xfrm>
            <a:off x="5488503" y="6408183"/>
            <a:ext cx="261852" cy="261455"/>
            <a:chOff x="1830159" y="2890771"/>
            <a:chExt cx="588560" cy="587668"/>
          </a:xfrm>
          <a:solidFill>
            <a:srgbClr val="191919"/>
          </a:solidFill>
        </p:grpSpPr>
        <p:sp>
          <p:nvSpPr>
            <p:cNvPr id="23" name="Rectangle 15">
              <a:extLst>
                <a:ext uri="{FF2B5EF4-FFF2-40B4-BE49-F238E27FC236}">
                  <a16:creationId xmlns:a16="http://schemas.microsoft.com/office/drawing/2014/main" id="{4B2D169A-B371-41FD-A0ED-6C46D422A9B5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15">
              <a:extLst>
                <a:ext uri="{FF2B5EF4-FFF2-40B4-BE49-F238E27FC236}">
                  <a16:creationId xmlns:a16="http://schemas.microsoft.com/office/drawing/2014/main" id="{40AC2A94-BA0D-4B03-8960-DBF8A2710E52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81814555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 Content Right A - Blu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2A062896-6E6F-47FA-8B05-79E6E9CD1A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8191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2A062896-6E6F-47FA-8B05-79E6E9CD1A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>
            <a:extLst>
              <a:ext uri="{FF2B5EF4-FFF2-40B4-BE49-F238E27FC236}">
                <a16:creationId xmlns:a16="http://schemas.microsoft.com/office/drawing/2014/main" id="{D873FCD7-4A1A-485E-94B8-62740B801A5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D64EF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AA4E253-97FC-4D73-ADAA-6F036BF347A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09EEC08E-42CF-40C9-9272-CA61CC955AA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5589037 w 6096000"/>
              <a:gd name="connsiteY1" fmla="*/ 0 h 6858000"/>
              <a:gd name="connsiteX2" fmla="*/ 5589037 w 6096000"/>
              <a:gd name="connsiteY2" fmla="*/ 1948540 h 6858000"/>
              <a:gd name="connsiteX3" fmla="*/ 6096000 w 6096000"/>
              <a:gd name="connsiteY3" fmla="*/ 1948540 h 6858000"/>
              <a:gd name="connsiteX4" fmla="*/ 6096000 w 6096000"/>
              <a:gd name="connsiteY4" fmla="*/ 6858000 h 6858000"/>
              <a:gd name="connsiteX5" fmla="*/ 0 w 6096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89037" y="0"/>
                </a:lnTo>
                <a:lnTo>
                  <a:pt x="5589037" y="1948540"/>
                </a:lnTo>
                <a:lnTo>
                  <a:pt x="6096000" y="1948540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pattFill prst="pct5">
            <a:fgClr>
              <a:schemeClr val="accent1"/>
            </a:fgClr>
            <a:bgClr>
              <a:schemeClr val="bg1">
                <a:lumMod val="95000"/>
              </a:schemeClr>
            </a:bgClr>
          </a:patt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1DDD94-83AE-854D-AA85-D405490CAEA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1" y="6356350"/>
            <a:ext cx="3365089" cy="365125"/>
          </a:xfrm>
        </p:spPr>
        <p:txBody>
          <a:bodyPr lIns="0"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6A226-FB73-094F-8B9B-9EE2B6DCCC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34BF340-D494-764D-9A47-5C5D338CE391}"/>
              </a:ext>
            </a:extLst>
          </p:cNvPr>
          <p:cNvCxnSpPr>
            <a:cxnSpLocks/>
          </p:cNvCxnSpPr>
          <p:nvPr userDrawn="1"/>
        </p:nvCxnSpPr>
        <p:spPr>
          <a:xfrm>
            <a:off x="6375509" y="6291060"/>
            <a:ext cx="4978289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B7500462-2231-1A49-92BA-58A84733F28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95593" y="1948541"/>
            <a:ext cx="4958205" cy="4047447"/>
          </a:xfrm>
        </p:spPr>
        <p:txBody>
          <a:bodyPr lIns="0"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4DFCCBA-93C8-4F45-9AA4-1C17B26B10D1}"/>
              </a:ext>
            </a:extLst>
          </p:cNvPr>
          <p:cNvSpPr/>
          <p:nvPr userDrawn="1"/>
        </p:nvSpPr>
        <p:spPr>
          <a:xfrm rot="16200000">
            <a:off x="4642835" y="949823"/>
            <a:ext cx="1945365" cy="45719"/>
          </a:xfrm>
          <a:prstGeom prst="rect">
            <a:avLst/>
          </a:prstGeom>
          <a:solidFill>
            <a:srgbClr val="C1F5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B1C7C02-287E-41E2-8675-B9C3EAA582D3}"/>
              </a:ext>
            </a:extLst>
          </p:cNvPr>
          <p:cNvSpPr/>
          <p:nvPr userDrawn="1"/>
        </p:nvSpPr>
        <p:spPr>
          <a:xfrm rot="16200000">
            <a:off x="3664133" y="4380414"/>
            <a:ext cx="4909453" cy="45719"/>
          </a:xfrm>
          <a:prstGeom prst="rect">
            <a:avLst/>
          </a:prstGeom>
          <a:solidFill>
            <a:srgbClr val="C1F5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AEB1B80-4488-4F6C-895B-8D35BED4B8ED}"/>
              </a:ext>
            </a:extLst>
          </p:cNvPr>
          <p:cNvGrpSpPr/>
          <p:nvPr userDrawn="1"/>
        </p:nvGrpSpPr>
        <p:grpSpPr>
          <a:xfrm>
            <a:off x="6375509" y="6408183"/>
            <a:ext cx="261852" cy="261455"/>
            <a:chOff x="1830159" y="2890771"/>
            <a:chExt cx="588560" cy="587668"/>
          </a:xfrm>
          <a:solidFill>
            <a:schemeClr val="bg1"/>
          </a:solidFill>
        </p:grpSpPr>
        <p:sp>
          <p:nvSpPr>
            <p:cNvPr id="15" name="Rectangle 15">
              <a:extLst>
                <a:ext uri="{FF2B5EF4-FFF2-40B4-BE49-F238E27FC236}">
                  <a16:creationId xmlns:a16="http://schemas.microsoft.com/office/drawing/2014/main" id="{73619412-E916-4A78-90C1-BCFB0955B6D8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EF3F9A44-3BB1-43B6-ABCB-DFDBA0B9C32B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1FB1D785-1161-424F-A601-EDE5A731C2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888734" y="226219"/>
            <a:ext cx="5465064" cy="365125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42A4513E-1997-41B0-B4F1-A9E6CB4F1E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8734" y="681037"/>
            <a:ext cx="5458716" cy="1177811"/>
          </a:xfrm>
        </p:spPr>
        <p:txBody>
          <a:bodyPr vert="horz" lIns="0" anchor="b">
            <a:normAutofit/>
          </a:bodyPr>
          <a:lstStyle>
            <a:lvl1pPr>
              <a:lnSpc>
                <a:spcPct val="80000"/>
              </a:lnSpc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CADDBFE1-3C37-4BC8-9B6F-F09F8AE856E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0800000">
            <a:off x="5690351" y="1689761"/>
            <a:ext cx="195645" cy="195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965044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 Content Right B - Black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2A062896-6E6F-47FA-8B05-79E6E9CD1A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96464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2A062896-6E6F-47FA-8B05-79E6E9CD1A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>
            <a:extLst>
              <a:ext uri="{FF2B5EF4-FFF2-40B4-BE49-F238E27FC236}">
                <a16:creationId xmlns:a16="http://schemas.microsoft.com/office/drawing/2014/main" id="{FEAA505C-0A45-44DD-A6C4-9BCD9C6C546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91919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AA4E253-97FC-4D73-ADAA-6F036BF347A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09EEC08E-42CF-40C9-9272-CA61CC955AA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5589037 w 6096000"/>
              <a:gd name="connsiteY1" fmla="*/ 0 h 6858000"/>
              <a:gd name="connsiteX2" fmla="*/ 5589037 w 6096000"/>
              <a:gd name="connsiteY2" fmla="*/ 1948540 h 6858000"/>
              <a:gd name="connsiteX3" fmla="*/ 6096000 w 6096000"/>
              <a:gd name="connsiteY3" fmla="*/ 1948540 h 6858000"/>
              <a:gd name="connsiteX4" fmla="*/ 6096000 w 6096000"/>
              <a:gd name="connsiteY4" fmla="*/ 6858000 h 6858000"/>
              <a:gd name="connsiteX5" fmla="*/ 0 w 6096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89037" y="0"/>
                </a:lnTo>
                <a:lnTo>
                  <a:pt x="5589037" y="1948540"/>
                </a:lnTo>
                <a:lnTo>
                  <a:pt x="6096000" y="1948540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pattFill prst="pct5">
            <a:fgClr>
              <a:schemeClr val="accent1"/>
            </a:fgClr>
            <a:bgClr>
              <a:schemeClr val="bg1">
                <a:lumMod val="95000"/>
              </a:schemeClr>
            </a:bgClr>
          </a:patt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1DDD94-83AE-854D-AA85-D405490CAEA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1" y="6356350"/>
            <a:ext cx="3365089" cy="365125"/>
          </a:xfrm>
        </p:spPr>
        <p:txBody>
          <a:bodyPr lIns="0"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868D98-9614-6F4D-9879-BC271C28C5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888734" y="226219"/>
            <a:ext cx="5465064" cy="365125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6A226-FB73-094F-8B9B-9EE2B6DCCC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34BF340-D494-764D-9A47-5C5D338CE391}"/>
              </a:ext>
            </a:extLst>
          </p:cNvPr>
          <p:cNvCxnSpPr>
            <a:cxnSpLocks/>
          </p:cNvCxnSpPr>
          <p:nvPr userDrawn="1"/>
        </p:nvCxnSpPr>
        <p:spPr>
          <a:xfrm>
            <a:off x="6375509" y="6291060"/>
            <a:ext cx="4978289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0292D551-E1D5-9D46-9C05-485819693C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8734" y="681037"/>
            <a:ext cx="5458716" cy="1177811"/>
          </a:xfrm>
        </p:spPr>
        <p:txBody>
          <a:bodyPr vert="horz" lIns="0" anchor="b">
            <a:normAutofit/>
          </a:bodyPr>
          <a:lstStyle>
            <a:lvl1pPr>
              <a:lnSpc>
                <a:spcPct val="80000"/>
              </a:lnSpc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B7500462-2231-1A49-92BA-58A84733F28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95593" y="1948541"/>
            <a:ext cx="4958205" cy="4047447"/>
          </a:xfrm>
        </p:spPr>
        <p:txBody>
          <a:bodyPr lIns="0"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4DFCCBA-93C8-4F45-9AA4-1C17B26B10D1}"/>
              </a:ext>
            </a:extLst>
          </p:cNvPr>
          <p:cNvSpPr/>
          <p:nvPr userDrawn="1"/>
        </p:nvSpPr>
        <p:spPr>
          <a:xfrm rot="16200000">
            <a:off x="4642835" y="949823"/>
            <a:ext cx="1945365" cy="45719"/>
          </a:xfrm>
          <a:prstGeom prst="rect">
            <a:avLst/>
          </a:prstGeom>
          <a:solidFill>
            <a:srgbClr val="C1F5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B1C7C02-287E-41E2-8675-B9C3EAA582D3}"/>
              </a:ext>
            </a:extLst>
          </p:cNvPr>
          <p:cNvSpPr/>
          <p:nvPr userDrawn="1"/>
        </p:nvSpPr>
        <p:spPr>
          <a:xfrm rot="16200000">
            <a:off x="3664133" y="4380414"/>
            <a:ext cx="4909453" cy="45719"/>
          </a:xfrm>
          <a:prstGeom prst="rect">
            <a:avLst/>
          </a:prstGeom>
          <a:solidFill>
            <a:srgbClr val="C1F5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66026B0-ED14-4689-8821-C3FC8FC039E2}"/>
              </a:ext>
            </a:extLst>
          </p:cNvPr>
          <p:cNvGrpSpPr/>
          <p:nvPr userDrawn="1"/>
        </p:nvGrpSpPr>
        <p:grpSpPr>
          <a:xfrm>
            <a:off x="6369551" y="6408183"/>
            <a:ext cx="261852" cy="261455"/>
            <a:chOff x="1830159" y="2890771"/>
            <a:chExt cx="588560" cy="587668"/>
          </a:xfrm>
          <a:solidFill>
            <a:schemeClr val="bg1"/>
          </a:solidFill>
        </p:grpSpPr>
        <p:sp>
          <p:nvSpPr>
            <p:cNvPr id="21" name="Rectangle 15">
              <a:extLst>
                <a:ext uri="{FF2B5EF4-FFF2-40B4-BE49-F238E27FC236}">
                  <a16:creationId xmlns:a16="http://schemas.microsoft.com/office/drawing/2014/main" id="{C4FF4A39-33A9-4412-9C75-CF3557853891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15">
              <a:extLst>
                <a:ext uri="{FF2B5EF4-FFF2-40B4-BE49-F238E27FC236}">
                  <a16:creationId xmlns:a16="http://schemas.microsoft.com/office/drawing/2014/main" id="{7D9067AF-7B1C-4EC9-A150-A449971965C0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4" name="Graphic 23">
            <a:extLst>
              <a:ext uri="{FF2B5EF4-FFF2-40B4-BE49-F238E27FC236}">
                <a16:creationId xmlns:a16="http://schemas.microsoft.com/office/drawing/2014/main" id="{A7414C3C-14B6-4C1B-B6EC-2CEC3216011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0800000">
            <a:off x="5690351" y="1689761"/>
            <a:ext cx="195645" cy="195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58461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 Content Right C - Whit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2A062896-6E6F-47FA-8B05-79E6E9CD1A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26927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2A062896-6E6F-47FA-8B05-79E6E9CD1A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09EEC08E-42CF-40C9-9272-CA61CC955AA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5589037 w 6096000"/>
              <a:gd name="connsiteY1" fmla="*/ 0 h 6858000"/>
              <a:gd name="connsiteX2" fmla="*/ 5589037 w 6096000"/>
              <a:gd name="connsiteY2" fmla="*/ 1948540 h 6858000"/>
              <a:gd name="connsiteX3" fmla="*/ 6096000 w 6096000"/>
              <a:gd name="connsiteY3" fmla="*/ 1948540 h 6858000"/>
              <a:gd name="connsiteX4" fmla="*/ 6096000 w 6096000"/>
              <a:gd name="connsiteY4" fmla="*/ 6858000 h 6858000"/>
              <a:gd name="connsiteX5" fmla="*/ 0 w 6096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5589037" y="0"/>
                </a:lnTo>
                <a:lnTo>
                  <a:pt x="5589037" y="1948540"/>
                </a:lnTo>
                <a:lnTo>
                  <a:pt x="6096000" y="1948540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pattFill prst="pct5">
            <a:fgClr>
              <a:schemeClr val="accent1"/>
            </a:fgClr>
            <a:bgClr>
              <a:schemeClr val="bg1">
                <a:lumMod val="95000"/>
              </a:schemeClr>
            </a:bgClr>
          </a:patt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1DDD94-83AE-854D-AA85-D405490CAEA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1" y="6356350"/>
            <a:ext cx="3365089" cy="365125"/>
          </a:xfrm>
        </p:spPr>
        <p:txBody>
          <a:bodyPr lIns="0"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868D98-9614-6F4D-9879-BC271C28C5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879592" y="226219"/>
            <a:ext cx="5474206" cy="365125"/>
          </a:xfrm>
        </p:spPr>
        <p:txBody>
          <a:bodyPr lIns="0"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6A226-FB73-094F-8B9B-9EE2B6DCCC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34BF340-D494-764D-9A47-5C5D338CE391}"/>
              </a:ext>
            </a:extLst>
          </p:cNvPr>
          <p:cNvCxnSpPr>
            <a:cxnSpLocks/>
          </p:cNvCxnSpPr>
          <p:nvPr userDrawn="1"/>
        </p:nvCxnSpPr>
        <p:spPr>
          <a:xfrm>
            <a:off x="6375509" y="6291060"/>
            <a:ext cx="4978289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0292D551-E1D5-9D46-9C05-485819693C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9592" y="681037"/>
            <a:ext cx="5467858" cy="1177811"/>
          </a:xfrm>
        </p:spPr>
        <p:txBody>
          <a:bodyPr vert="horz" lIns="0" anchor="b">
            <a:normAutofit/>
          </a:bodyPr>
          <a:lstStyle>
            <a:lvl1pPr>
              <a:lnSpc>
                <a:spcPct val="80000"/>
              </a:lnSpc>
              <a:defRPr sz="3600"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B7500462-2231-1A49-92BA-58A84733F28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95593" y="1948541"/>
            <a:ext cx="4958205" cy="4047447"/>
          </a:xfrm>
        </p:spPr>
        <p:txBody>
          <a:bodyPr lIns="0"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0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4DFCCBA-93C8-4F45-9AA4-1C17B26B10D1}"/>
              </a:ext>
            </a:extLst>
          </p:cNvPr>
          <p:cNvSpPr/>
          <p:nvPr userDrawn="1"/>
        </p:nvSpPr>
        <p:spPr>
          <a:xfrm rot="16200000">
            <a:off x="4642835" y="949823"/>
            <a:ext cx="1945365" cy="45719"/>
          </a:xfrm>
          <a:prstGeom prst="rect">
            <a:avLst/>
          </a:prstGeom>
          <a:solidFill>
            <a:srgbClr val="0D64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B1C7C02-287E-41E2-8675-B9C3EAA582D3}"/>
              </a:ext>
            </a:extLst>
          </p:cNvPr>
          <p:cNvSpPr/>
          <p:nvPr userDrawn="1"/>
        </p:nvSpPr>
        <p:spPr>
          <a:xfrm rot="16200000">
            <a:off x="3664133" y="4380414"/>
            <a:ext cx="4909453" cy="45719"/>
          </a:xfrm>
          <a:prstGeom prst="rect">
            <a:avLst/>
          </a:prstGeom>
          <a:solidFill>
            <a:srgbClr val="0D64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FE969EB-88DC-4AA5-87DC-3C807710D2B1}"/>
              </a:ext>
            </a:extLst>
          </p:cNvPr>
          <p:cNvGrpSpPr/>
          <p:nvPr userDrawn="1"/>
        </p:nvGrpSpPr>
        <p:grpSpPr>
          <a:xfrm>
            <a:off x="6375509" y="6408183"/>
            <a:ext cx="261852" cy="261455"/>
            <a:chOff x="1830159" y="2890771"/>
            <a:chExt cx="588560" cy="587668"/>
          </a:xfrm>
          <a:solidFill>
            <a:schemeClr val="tx2"/>
          </a:solidFill>
        </p:grpSpPr>
        <p:sp>
          <p:nvSpPr>
            <p:cNvPr id="24" name="Rectangle 15">
              <a:extLst>
                <a:ext uri="{FF2B5EF4-FFF2-40B4-BE49-F238E27FC236}">
                  <a16:creationId xmlns:a16="http://schemas.microsoft.com/office/drawing/2014/main" id="{61066353-B990-4870-81D7-3440E7935F2C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15">
              <a:extLst>
                <a:ext uri="{FF2B5EF4-FFF2-40B4-BE49-F238E27FC236}">
                  <a16:creationId xmlns:a16="http://schemas.microsoft.com/office/drawing/2014/main" id="{11F301B7-E8D1-4443-AABF-27DB9D74954D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2" name="Graphic 21">
            <a:extLst>
              <a:ext uri="{FF2B5EF4-FFF2-40B4-BE49-F238E27FC236}">
                <a16:creationId xmlns:a16="http://schemas.microsoft.com/office/drawing/2014/main" id="{2B0517FD-4A05-48DF-8920-B2569812B8B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0800000">
            <a:off x="5690351" y="1689761"/>
            <a:ext cx="195645" cy="195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23724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 Content 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1DDD94-83AE-854D-AA85-D405490CA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/>
          <a:lstStyle>
            <a:lvl1pPr>
              <a:defRPr cap="all" baseline="0"/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868D98-9614-6F4D-9879-BC271C28C5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8" y="226219"/>
            <a:ext cx="4951857" cy="365125"/>
          </a:xfrm>
        </p:spPr>
        <p:txBody>
          <a:bodyPr lIns="0"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6A226-FB73-094F-8B9B-9EE2B6DCCC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34BF340-D494-764D-9A47-5C5D338CE391}"/>
              </a:ext>
            </a:extLst>
          </p:cNvPr>
          <p:cNvCxnSpPr>
            <a:cxnSpLocks/>
          </p:cNvCxnSpPr>
          <p:nvPr userDrawn="1"/>
        </p:nvCxnSpPr>
        <p:spPr>
          <a:xfrm>
            <a:off x="838199" y="6291060"/>
            <a:ext cx="5942163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CA145011-7FA3-984C-AE83-0C0F5CC8BB4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423050" y="1347344"/>
            <a:ext cx="4163312" cy="4163312"/>
          </a:xfrm>
          <a:prstGeom prst="ellipse">
            <a:avLst/>
          </a:prstGeom>
          <a:pattFill prst="pct5">
            <a:fgClr>
              <a:schemeClr val="accent1"/>
            </a:fgClr>
            <a:bgClr>
              <a:schemeClr val="bg1">
                <a:lumMod val="95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picture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9AE161D9-5B2D-F444-945D-2E090DD73B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681037"/>
            <a:ext cx="4951855" cy="1177811"/>
          </a:xfrm>
        </p:spPr>
        <p:txBody>
          <a:bodyPr lIns="0" anchor="b">
            <a:normAutofit/>
          </a:bodyPr>
          <a:lstStyle>
            <a:lvl1pPr>
              <a:lnSpc>
                <a:spcPct val="80000"/>
              </a:lnSpc>
              <a:defRPr sz="3600"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B192B316-5DD1-CF4A-B649-BB78047AA2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8198" y="1948541"/>
            <a:ext cx="4958205" cy="4047447"/>
          </a:xfrm>
        </p:spPr>
        <p:txBody>
          <a:bodyPr lIns="0">
            <a:normAutofit/>
          </a:bodyPr>
          <a:lstStyle>
            <a:lvl1pPr marL="0" indent="0">
              <a:lnSpc>
                <a:spcPct val="100000"/>
              </a:lnSpc>
              <a:buNone/>
              <a:defRPr sz="2000"/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add text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F9D5B0B-FAC5-43A8-AF11-6C5DC797CF5E}"/>
              </a:ext>
            </a:extLst>
          </p:cNvPr>
          <p:cNvGrpSpPr/>
          <p:nvPr userDrawn="1"/>
        </p:nvGrpSpPr>
        <p:grpSpPr>
          <a:xfrm>
            <a:off x="5965074" y="6408183"/>
            <a:ext cx="261852" cy="261455"/>
            <a:chOff x="1830159" y="2890771"/>
            <a:chExt cx="588560" cy="587668"/>
          </a:xfrm>
          <a:solidFill>
            <a:schemeClr val="tx2"/>
          </a:solidFill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6E919189-8CCF-44EE-9D66-E3B88B45416F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5">
              <a:extLst>
                <a:ext uri="{FF2B5EF4-FFF2-40B4-BE49-F238E27FC236}">
                  <a16:creationId xmlns:a16="http://schemas.microsoft.com/office/drawing/2014/main" id="{A418BD05-213A-4AD2-8BA7-8E20302D5827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2515611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 Content B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DB519A0-7D16-FED8-3F88-5A75C7D68039}"/>
              </a:ext>
            </a:extLst>
          </p:cNvPr>
          <p:cNvSpPr/>
          <p:nvPr userDrawn="1"/>
        </p:nvSpPr>
        <p:spPr>
          <a:xfrm>
            <a:off x="0" y="0"/>
            <a:ext cx="12192000" cy="529464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53FF834-291D-4794-8E43-8A6A98F16B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1795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53FF834-291D-4794-8E43-8A6A98F16B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>
            <a:extLst>
              <a:ext uri="{FF2B5EF4-FFF2-40B4-BE49-F238E27FC236}">
                <a16:creationId xmlns:a16="http://schemas.microsoft.com/office/drawing/2014/main" id="{9B1267CD-7BF2-427A-8219-3B9D6CCB6642}"/>
              </a:ext>
            </a:extLst>
          </p:cNvPr>
          <p:cNvSpPr/>
          <p:nvPr userDrawn="1"/>
        </p:nvSpPr>
        <p:spPr>
          <a:xfrm>
            <a:off x="0" y="5294644"/>
            <a:ext cx="12192000" cy="91440"/>
          </a:xfrm>
          <a:prstGeom prst="rect">
            <a:avLst/>
          </a:prstGeom>
          <a:solidFill>
            <a:srgbClr val="C1F5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1DDD94-83AE-854D-AA85-D405490CA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868D98-9614-6F4D-9879-BC271C28C5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8" y="226219"/>
            <a:ext cx="6083808" cy="365125"/>
          </a:xfrm>
        </p:spPr>
        <p:txBody>
          <a:bodyPr lIns="0"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6A226-FB73-094F-8B9B-9EE2B6DCCC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0EBDDD80-1B6C-7B48-9D2A-FA897114EC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8197" y="1948541"/>
            <a:ext cx="6083811" cy="2262985"/>
          </a:xfrm>
        </p:spPr>
        <p:txBody>
          <a:bodyPr lIns="0">
            <a:normAutofit/>
          </a:bodyPr>
          <a:lstStyle>
            <a:lvl1pPr marL="0" indent="0">
              <a:lnSpc>
                <a:spcPct val="100000"/>
              </a:lnSpc>
              <a:buNone/>
              <a:defRPr sz="2000"/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B6CDA8B7-A966-8A47-A0B8-D56F4BC2A1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1" y="681037"/>
            <a:ext cx="6083808" cy="1177811"/>
          </a:xfrm>
        </p:spPr>
        <p:txBody>
          <a:bodyPr vert="horz" lIns="0" anchor="b">
            <a:normAutofit/>
          </a:bodyPr>
          <a:lstStyle>
            <a:lvl1pPr>
              <a:defRPr sz="3600"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2019077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 Content C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1DDD94-83AE-854D-AA85-D405490CA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/>
          <a:lstStyle>
            <a:lvl1pPr>
              <a:defRPr cap="all" baseline="0"/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868D98-9614-6F4D-9879-BC271C28C5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8" y="226219"/>
            <a:ext cx="4493157" cy="365125"/>
          </a:xfrm>
        </p:spPr>
        <p:txBody>
          <a:bodyPr lIns="0"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6A226-FB73-094F-8B9B-9EE2B6DCCC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CA145011-7FA3-984C-AE83-0C0F5CC8BB4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77557" y="408781"/>
            <a:ext cx="1939901" cy="1939901"/>
          </a:xfrm>
          <a:prstGeom prst="ellipse">
            <a:avLst/>
          </a:prstGeom>
          <a:pattFill prst="pct5">
            <a:fgClr>
              <a:schemeClr val="accent1"/>
            </a:fgClr>
            <a:bgClr>
              <a:schemeClr val="bg1">
                <a:lumMod val="95000"/>
              </a:schemeClr>
            </a:bgClr>
          </a:patt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 rIns="0"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to add pictur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A1AE407-72D0-5046-9B81-D62F6C17D2AA}"/>
              </a:ext>
            </a:extLst>
          </p:cNvPr>
          <p:cNvCxnSpPr>
            <a:cxnSpLocks/>
          </p:cNvCxnSpPr>
          <p:nvPr userDrawn="1"/>
        </p:nvCxnSpPr>
        <p:spPr>
          <a:xfrm>
            <a:off x="838199" y="6291060"/>
            <a:ext cx="4492167" cy="0"/>
          </a:xfrm>
          <a:prstGeom prst="line">
            <a:avLst/>
          </a:prstGeom>
          <a:ln w="19050">
            <a:solidFill>
              <a:srgbClr val="1919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CCD2AD6B-05C4-C64C-B497-6A479AACE19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177558" y="2442643"/>
            <a:ext cx="1939901" cy="1939901"/>
          </a:xfrm>
          <a:prstGeom prst="ellipse">
            <a:avLst/>
          </a:prstGeom>
          <a:pattFill prst="pct5">
            <a:fgClr>
              <a:schemeClr val="accent1"/>
            </a:fgClr>
            <a:bgClr>
              <a:schemeClr val="bg1">
                <a:lumMod val="95000"/>
              </a:schemeClr>
            </a:bgClr>
          </a:patt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 rIns="0"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3F5883B-F97D-A647-A0E1-E211D01E5B2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35365" y="1257006"/>
            <a:ext cx="2718433" cy="778014"/>
          </a:xfrm>
        </p:spPr>
        <p:txBody>
          <a:bodyPr lIns="0"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latin typeface="+mj-lt"/>
              </a:defRPr>
            </a:lvl1pPr>
            <a:lvl2pPr>
              <a:defRPr sz="1800">
                <a:latin typeface="+mj-lt"/>
              </a:defRPr>
            </a:lvl2pPr>
            <a:lvl3pPr>
              <a:defRPr sz="1800">
                <a:latin typeface="+mj-lt"/>
              </a:defRPr>
            </a:lvl3pPr>
            <a:lvl4pPr>
              <a:defRPr sz="1800">
                <a:latin typeface="+mj-lt"/>
              </a:defRPr>
            </a:lvl4pPr>
            <a:lvl5pPr>
              <a:defRPr sz="1800">
                <a:latin typeface="+mj-lt"/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5CB984C0-109A-354A-A45A-EB614489B9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641716" y="666858"/>
            <a:ext cx="2718433" cy="603675"/>
          </a:xfrm>
        </p:spPr>
        <p:txBody>
          <a:bodyPr lIns="0" anchor="b">
            <a:noAutofit/>
          </a:bodyPr>
          <a:lstStyle>
            <a:lvl1pPr marL="0" indent="0">
              <a:lnSpc>
                <a:spcPct val="100000"/>
              </a:lnSpc>
              <a:buNone/>
              <a:defRPr sz="1800" b="1" cap="all" baseline="0">
                <a:solidFill>
                  <a:schemeClr val="accent1"/>
                </a:solidFill>
                <a:latin typeface="+mj-lt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11B5EC56-491C-9F40-A23C-372168501A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41716" y="3337267"/>
            <a:ext cx="2718433" cy="778014"/>
          </a:xfrm>
        </p:spPr>
        <p:txBody>
          <a:bodyPr lIns="0"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latin typeface="+mj-lt"/>
              </a:defRPr>
            </a:lvl1pPr>
            <a:lvl2pPr>
              <a:defRPr sz="1800">
                <a:latin typeface="+mj-lt"/>
              </a:defRPr>
            </a:lvl2pPr>
            <a:lvl3pPr>
              <a:defRPr sz="1800">
                <a:latin typeface="+mj-lt"/>
              </a:defRPr>
            </a:lvl3pPr>
            <a:lvl4pPr>
              <a:defRPr sz="1800">
                <a:latin typeface="+mj-lt"/>
              </a:defRPr>
            </a:lvl4pPr>
            <a:lvl5pPr>
              <a:defRPr sz="1800">
                <a:latin typeface="+mj-lt"/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63F525C4-E69A-E640-B82C-80329105C82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48067" y="2788832"/>
            <a:ext cx="2718433" cy="561962"/>
          </a:xfrm>
        </p:spPr>
        <p:txBody>
          <a:bodyPr lIns="0" anchor="b">
            <a:noAutofit/>
          </a:bodyPr>
          <a:lstStyle>
            <a:lvl1pPr marL="0" indent="0">
              <a:lnSpc>
                <a:spcPct val="100000"/>
              </a:lnSpc>
              <a:buNone/>
              <a:defRPr sz="1800" b="1" cap="all" baseline="0">
                <a:solidFill>
                  <a:schemeClr val="accent1"/>
                </a:solidFill>
                <a:latin typeface="+mj-lt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01BE9EA0-F4D1-AB4E-B546-28347340E8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1" y="681037"/>
            <a:ext cx="4486414" cy="1177811"/>
          </a:xfrm>
        </p:spPr>
        <p:txBody>
          <a:bodyPr lIns="0" anchor="b">
            <a:normAutofit/>
          </a:bodyPr>
          <a:lstStyle>
            <a:lvl1pPr>
              <a:defRPr sz="3600"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B61547-4B93-4A94-8302-B5638086B23D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831852" y="1928813"/>
            <a:ext cx="4506912" cy="4191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EB1B2CC2-8CAD-4719-9AC1-F5652AB8A46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182464" y="4291871"/>
            <a:ext cx="360181" cy="409786"/>
          </a:xfrm>
          <a:prstGeom prst="rect">
            <a:avLst/>
          </a:prstGeom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600A3E73-A578-40B3-9677-E5DE67E8CCAB}"/>
              </a:ext>
            </a:extLst>
          </p:cNvPr>
          <p:cNvGrpSpPr/>
          <p:nvPr userDrawn="1"/>
        </p:nvGrpSpPr>
        <p:grpSpPr>
          <a:xfrm>
            <a:off x="5965074" y="6408183"/>
            <a:ext cx="261852" cy="261455"/>
            <a:chOff x="1830159" y="2890771"/>
            <a:chExt cx="588560" cy="587668"/>
          </a:xfrm>
          <a:solidFill>
            <a:schemeClr val="tx2"/>
          </a:solidFill>
        </p:grpSpPr>
        <p:sp>
          <p:nvSpPr>
            <p:cNvPr id="31" name="Rectangle 15">
              <a:extLst>
                <a:ext uri="{FF2B5EF4-FFF2-40B4-BE49-F238E27FC236}">
                  <a16:creationId xmlns:a16="http://schemas.microsoft.com/office/drawing/2014/main" id="{ACB6FF82-66C9-4E9D-91C9-6660CC54A9E7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tangle 15">
              <a:extLst>
                <a:ext uri="{FF2B5EF4-FFF2-40B4-BE49-F238E27FC236}">
                  <a16:creationId xmlns:a16="http://schemas.microsoft.com/office/drawing/2014/main" id="{103669D5-21EE-4529-A004-3A78A2F13958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6" name="Graphic 25">
            <a:extLst>
              <a:ext uri="{FF2B5EF4-FFF2-40B4-BE49-F238E27FC236}">
                <a16:creationId xmlns:a16="http://schemas.microsoft.com/office/drawing/2014/main" id="{975E2CF2-16E2-44B1-9138-E9FC51DCA26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189501" y="2035020"/>
            <a:ext cx="360181" cy="409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66492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FE076CD-27F0-441E-BF34-32224A1DEA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5085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FE076CD-27F0-441E-BF34-32224A1DEA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6F271AAC-C994-7A46-AB6B-5736DEFF057E}"/>
              </a:ext>
            </a:extLst>
          </p:cNvPr>
          <p:cNvSpPr/>
          <p:nvPr userDrawn="1"/>
        </p:nvSpPr>
        <p:spPr>
          <a:xfrm>
            <a:off x="-3325" y="0"/>
            <a:ext cx="5730357" cy="6857999"/>
          </a:xfrm>
          <a:prstGeom prst="rect">
            <a:avLst/>
          </a:prstGeom>
          <a:solidFill>
            <a:srgbClr val="0D64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1DDD94-83AE-854D-AA85-D405490CAEA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64970" y="6356350"/>
            <a:ext cx="2743200" cy="365125"/>
          </a:xfrm>
        </p:spPr>
        <p:txBody>
          <a:bodyPr/>
          <a:lstStyle>
            <a:lvl1pPr>
              <a:defRPr>
                <a:solidFill>
                  <a:srgbClr val="191919"/>
                </a:solidFill>
              </a:defRPr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868D98-9614-6F4D-9879-BC271C28C5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9" y="226219"/>
            <a:ext cx="4638262" cy="365125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6A226-FB73-094F-8B9B-9EE2B6DCCC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>
                <a:solidFill>
                  <a:srgbClr val="191919"/>
                </a:solidFill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06A4FE27-3E2F-473A-98CB-234B0B7FF97B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-3325" y="3830638"/>
            <a:ext cx="5730357" cy="3027362"/>
          </a:xfrm>
          <a:custGeom>
            <a:avLst/>
            <a:gdLst>
              <a:gd name="connsiteX0" fmla="*/ 0 w 5730357"/>
              <a:gd name="connsiteY0" fmla="*/ 0 h 3027362"/>
              <a:gd name="connsiteX1" fmla="*/ 2871216 w 5730357"/>
              <a:gd name="connsiteY1" fmla="*/ 0 h 3027362"/>
              <a:gd name="connsiteX2" fmla="*/ 2871216 w 5730357"/>
              <a:gd name="connsiteY2" fmla="*/ 417166 h 3027362"/>
              <a:gd name="connsiteX3" fmla="*/ 5730357 w 5730357"/>
              <a:gd name="connsiteY3" fmla="*/ 417166 h 3027362"/>
              <a:gd name="connsiteX4" fmla="*/ 5730357 w 5730357"/>
              <a:gd name="connsiteY4" fmla="*/ 3027362 h 3027362"/>
              <a:gd name="connsiteX5" fmla="*/ 0 w 5730357"/>
              <a:gd name="connsiteY5" fmla="*/ 3027362 h 3027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30357" h="3027362">
                <a:moveTo>
                  <a:pt x="0" y="0"/>
                </a:moveTo>
                <a:lnTo>
                  <a:pt x="2871216" y="0"/>
                </a:lnTo>
                <a:lnTo>
                  <a:pt x="2871216" y="417166"/>
                </a:lnTo>
                <a:lnTo>
                  <a:pt x="5730357" y="417166"/>
                </a:lnTo>
                <a:lnTo>
                  <a:pt x="5730357" y="3027362"/>
                </a:lnTo>
                <a:lnTo>
                  <a:pt x="0" y="3027362"/>
                </a:lnTo>
                <a:close/>
              </a:path>
            </a:pathLst>
          </a:custGeom>
          <a:pattFill prst="pct5">
            <a:fgClr>
              <a:schemeClr val="accent1"/>
            </a:fgClr>
            <a:bgClr>
              <a:schemeClr val="bg1">
                <a:lumMod val="95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8B22EE5-1902-9E49-BC99-02E31C06350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38200" y="1030288"/>
            <a:ext cx="4166937" cy="2398712"/>
          </a:xfrm>
        </p:spPr>
        <p:txBody>
          <a:bodyPr lIns="0" anchor="t">
            <a:normAutofit/>
          </a:bodyPr>
          <a:lstStyle>
            <a:lvl1pPr marL="0" indent="0">
              <a:lnSpc>
                <a:spcPct val="80000"/>
              </a:lnSpc>
              <a:buNone/>
              <a:defRPr sz="48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800">
                <a:solidFill>
                  <a:schemeClr val="bg1"/>
                </a:solidFill>
              </a:defRPr>
            </a:lvl2pPr>
            <a:lvl3pPr marL="914400" indent="0">
              <a:buNone/>
              <a:defRPr sz="2800">
                <a:solidFill>
                  <a:schemeClr val="bg1"/>
                </a:solidFill>
              </a:defRPr>
            </a:lvl3pPr>
            <a:lvl4pPr marL="1371600" indent="0">
              <a:buNone/>
              <a:defRPr sz="2800">
                <a:solidFill>
                  <a:schemeClr val="bg1"/>
                </a:solidFill>
              </a:defRPr>
            </a:lvl4pPr>
            <a:lvl5pPr marL="1828800" indent="0">
              <a:buNone/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1563284-1B8A-4E57-A326-19E0D2E3E47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64970" y="785811"/>
            <a:ext cx="4888828" cy="5286375"/>
          </a:xfrm>
          <a:ln>
            <a:noFill/>
          </a:ln>
        </p:spPr>
        <p:txBody>
          <a:bodyPr lIns="0" anchor="ctr">
            <a:normAutofit/>
          </a:bodyPr>
          <a:lstStyle>
            <a:lvl1pPr marL="457200" marR="0" indent="-4572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Clr>
                <a:srgbClr val="191919"/>
              </a:buClr>
              <a:buSzTx/>
              <a:buFont typeface="+mj-lt"/>
              <a:buAutoNum type="arabicPeriod"/>
              <a:tabLst/>
              <a:defRPr sz="2000" b="1">
                <a:solidFill>
                  <a:srgbClr val="0D64EF"/>
                </a:solidFill>
              </a:defRPr>
            </a:lvl1pPr>
            <a:lvl2pPr marL="914400" indent="-457200">
              <a:buFont typeface="+mj-lt"/>
              <a:buAutoNum type="arabicPeriod"/>
              <a:defRPr/>
            </a:lvl2pPr>
            <a:lvl3pPr marL="1371600" indent="-457200">
              <a:buFont typeface="+mj-lt"/>
              <a:buAutoNum type="arabicPeriod"/>
              <a:defRPr/>
            </a:lvl3pPr>
            <a:lvl4pPr marL="1714500" indent="-342900">
              <a:buFont typeface="+mj-lt"/>
              <a:buAutoNum type="arabicPeriod"/>
              <a:defRPr/>
            </a:lvl4pPr>
            <a:lvl5pPr marL="2171700" indent="-342900">
              <a:buFont typeface="+mj-lt"/>
              <a:buAutoNum type="arabicPeriod"/>
              <a:defRPr/>
            </a:lvl5pPr>
          </a:lstStyle>
          <a:p>
            <a:pPr lvl="0"/>
            <a:r>
              <a:rPr lang="en-US"/>
              <a:t>Click to add agenda items</a:t>
            </a:r>
          </a:p>
          <a:p>
            <a:pPr lvl="0"/>
            <a:r>
              <a:rPr lang="en-US"/>
              <a:t>Click to add agenda items</a:t>
            </a:r>
          </a:p>
          <a:p>
            <a:pPr lvl="0"/>
            <a:r>
              <a:rPr lang="en-US"/>
              <a:t>Click to add agenda items</a:t>
            </a:r>
          </a:p>
          <a:p>
            <a:pPr lvl="0"/>
            <a:r>
              <a:rPr lang="en-US"/>
              <a:t>Click to add agenda items</a:t>
            </a:r>
          </a:p>
          <a:p>
            <a:pPr lvl="0"/>
            <a:r>
              <a:rPr lang="en-US"/>
              <a:t>Click to add agenda items</a:t>
            </a:r>
          </a:p>
          <a:p>
            <a:pPr lvl="0"/>
            <a:r>
              <a:rPr lang="en-US"/>
              <a:t>Click to add agenda items</a:t>
            </a:r>
          </a:p>
          <a:p>
            <a:pPr lvl="0"/>
            <a:r>
              <a:rPr lang="en-US"/>
              <a:t>Click to add agenda items</a:t>
            </a:r>
          </a:p>
          <a:p>
            <a:pPr lvl="0"/>
            <a:r>
              <a:rPr lang="en-US"/>
              <a:t>Click to add agenda item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947F38E-1AD2-45C0-AF23-DFFEE1C70998}"/>
              </a:ext>
            </a:extLst>
          </p:cNvPr>
          <p:cNvSpPr/>
          <p:nvPr userDrawn="1"/>
        </p:nvSpPr>
        <p:spPr>
          <a:xfrm>
            <a:off x="-9675" y="3784918"/>
            <a:ext cx="2879875" cy="45719"/>
          </a:xfrm>
          <a:prstGeom prst="rect">
            <a:avLst/>
          </a:prstGeom>
          <a:solidFill>
            <a:srgbClr val="C1F5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8849A9A-759C-4A92-BB56-A8AFF4D86393}"/>
              </a:ext>
            </a:extLst>
          </p:cNvPr>
          <p:cNvSpPr/>
          <p:nvPr userDrawn="1"/>
        </p:nvSpPr>
        <p:spPr>
          <a:xfrm>
            <a:off x="2870201" y="4209415"/>
            <a:ext cx="2856832" cy="45719"/>
          </a:xfrm>
          <a:prstGeom prst="rect">
            <a:avLst/>
          </a:prstGeom>
          <a:solidFill>
            <a:srgbClr val="C1F5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 </a:t>
            </a:r>
          </a:p>
        </p:txBody>
      </p:sp>
      <p:pic>
        <p:nvPicPr>
          <p:cNvPr id="48" name="Graphic 47">
            <a:extLst>
              <a:ext uri="{FF2B5EF4-FFF2-40B4-BE49-F238E27FC236}">
                <a16:creationId xmlns:a16="http://schemas.microsoft.com/office/drawing/2014/main" id="{4D90733E-85EF-4689-94ED-8AF31318076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0800000">
            <a:off x="2961685" y="3910774"/>
            <a:ext cx="195645" cy="195645"/>
          </a:xfrm>
          <a:prstGeom prst="rect">
            <a:avLst/>
          </a:prstGeom>
        </p:spPr>
      </p:pic>
      <p:grpSp>
        <p:nvGrpSpPr>
          <p:cNvPr id="49" name="Group 48">
            <a:extLst>
              <a:ext uri="{FF2B5EF4-FFF2-40B4-BE49-F238E27FC236}">
                <a16:creationId xmlns:a16="http://schemas.microsoft.com/office/drawing/2014/main" id="{E728DAB2-26B1-41FF-BDDE-FADE1603A224}"/>
              </a:ext>
            </a:extLst>
          </p:cNvPr>
          <p:cNvGrpSpPr/>
          <p:nvPr userDrawn="1"/>
        </p:nvGrpSpPr>
        <p:grpSpPr>
          <a:xfrm>
            <a:off x="5965074" y="6408183"/>
            <a:ext cx="261852" cy="261455"/>
            <a:chOff x="1830159" y="2890771"/>
            <a:chExt cx="588560" cy="587668"/>
          </a:xfrm>
          <a:solidFill>
            <a:schemeClr val="tx2"/>
          </a:solidFill>
        </p:grpSpPr>
        <p:sp>
          <p:nvSpPr>
            <p:cNvPr id="50" name="Rectangle 15">
              <a:extLst>
                <a:ext uri="{FF2B5EF4-FFF2-40B4-BE49-F238E27FC236}">
                  <a16:creationId xmlns:a16="http://schemas.microsoft.com/office/drawing/2014/main" id="{CCB4E694-6B8A-48B5-9B1B-C259D5803E2D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Rectangle 15">
              <a:extLst>
                <a:ext uri="{FF2B5EF4-FFF2-40B4-BE49-F238E27FC236}">
                  <a16:creationId xmlns:a16="http://schemas.microsoft.com/office/drawing/2014/main" id="{9F49CA7D-3A11-4DD3-AF0E-03C0E25F1E5F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0791937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 Content D - White">
    <p:bg>
      <p:bgPr>
        <a:blipFill dpi="0" rotWithShape="1">
          <a:blip r:embed="rId3">
            <a:alphaModFix amt="75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1EE2F43-9985-4EB6-889C-9360A9B929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64162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1EE2F43-9985-4EB6-889C-9360A9B929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82217884-DD39-4281-94AA-1462F025170D}"/>
              </a:ext>
            </a:extLst>
          </p:cNvPr>
          <p:cNvCxnSpPr>
            <a:cxnSpLocks/>
          </p:cNvCxnSpPr>
          <p:nvPr userDrawn="1"/>
        </p:nvCxnSpPr>
        <p:spPr>
          <a:xfrm>
            <a:off x="5572758" y="3597079"/>
            <a:ext cx="2743200" cy="0"/>
          </a:xfrm>
          <a:prstGeom prst="line">
            <a:avLst/>
          </a:prstGeom>
          <a:ln w="44450">
            <a:solidFill>
              <a:srgbClr val="1919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EE833AFB-19EF-4880-B2A6-466D252AF24E}"/>
              </a:ext>
            </a:extLst>
          </p:cNvPr>
          <p:cNvCxnSpPr>
            <a:cxnSpLocks/>
          </p:cNvCxnSpPr>
          <p:nvPr userDrawn="1"/>
        </p:nvCxnSpPr>
        <p:spPr>
          <a:xfrm>
            <a:off x="8610598" y="3600554"/>
            <a:ext cx="2743200" cy="0"/>
          </a:xfrm>
          <a:prstGeom prst="line">
            <a:avLst/>
          </a:prstGeom>
          <a:ln w="44450">
            <a:solidFill>
              <a:srgbClr val="1919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1DDD94-83AE-854D-AA85-D405490CA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/>
          <a:lstStyle>
            <a:lvl1pPr>
              <a:defRPr cap="all" baseline="0"/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6A226-FB73-094F-8B9B-9EE2B6DCCC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/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BEFE8FC-65B1-2C49-994E-CA795F2BDAF9}"/>
              </a:ext>
            </a:extLst>
          </p:cNvPr>
          <p:cNvCxnSpPr>
            <a:cxnSpLocks/>
          </p:cNvCxnSpPr>
          <p:nvPr userDrawn="1"/>
        </p:nvCxnSpPr>
        <p:spPr>
          <a:xfrm>
            <a:off x="5572758" y="3571679"/>
            <a:ext cx="2743200" cy="0"/>
          </a:xfrm>
          <a:prstGeom prst="line">
            <a:avLst/>
          </a:prstGeom>
          <a:ln w="444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35489E5-4C19-384C-BFF5-3F8A7A728F02}"/>
              </a:ext>
            </a:extLst>
          </p:cNvPr>
          <p:cNvCxnSpPr>
            <a:cxnSpLocks/>
          </p:cNvCxnSpPr>
          <p:nvPr userDrawn="1"/>
        </p:nvCxnSpPr>
        <p:spPr>
          <a:xfrm>
            <a:off x="8610598" y="3575154"/>
            <a:ext cx="2743200" cy="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Picture Placeholder 7">
            <a:extLst>
              <a:ext uri="{FF2B5EF4-FFF2-40B4-BE49-F238E27FC236}">
                <a16:creationId xmlns:a16="http://schemas.microsoft.com/office/drawing/2014/main" id="{F9C54EB8-D87A-AA44-B85E-157738DB9648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5684357" y="800628"/>
            <a:ext cx="2520000" cy="2520000"/>
          </a:xfrm>
          <a:prstGeom prst="ellipse">
            <a:avLst/>
          </a:prstGeom>
          <a:pattFill prst="pct5">
            <a:fgClr>
              <a:schemeClr val="accent1"/>
            </a:fgClr>
            <a:bgClr>
              <a:schemeClr val="bg1">
                <a:lumMod val="95000"/>
              </a:schemeClr>
            </a:bgClr>
          </a:patt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to add pictur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7E7AE66C-0658-A247-AC29-2BDA77E0D532}"/>
              </a:ext>
            </a:extLst>
          </p:cNvPr>
          <p:cNvCxnSpPr>
            <a:cxnSpLocks/>
          </p:cNvCxnSpPr>
          <p:nvPr userDrawn="1"/>
        </p:nvCxnSpPr>
        <p:spPr>
          <a:xfrm>
            <a:off x="838199" y="6288108"/>
            <a:ext cx="10515599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03C6193-2296-DD4D-A5DC-C250E0AF36D2}"/>
              </a:ext>
            </a:extLst>
          </p:cNvPr>
          <p:cNvSpPr>
            <a:spLocks noGrp="1"/>
          </p:cNvSpPr>
          <p:nvPr>
            <p:ph type="body" sz="half" idx="30" hasCustomPrompt="1"/>
          </p:nvPr>
        </p:nvSpPr>
        <p:spPr>
          <a:xfrm>
            <a:off x="5572758" y="4263490"/>
            <a:ext cx="2743199" cy="1676826"/>
          </a:xfrm>
        </p:spPr>
        <p:txBody>
          <a:bodyPr lIns="0">
            <a:norm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2">
                    <a:lumMod val="10000"/>
                  </a:schemeClr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5B518DA8-A4BE-0245-ACA7-40BFBA397AD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575932" y="3713167"/>
            <a:ext cx="2736850" cy="487362"/>
          </a:xfr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buNone/>
              <a:defRPr sz="18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C3D3833E-2A89-4A4B-8963-25F28918B39F}"/>
              </a:ext>
            </a:extLst>
          </p:cNvPr>
          <p:cNvSpPr>
            <a:spLocks noGrp="1"/>
          </p:cNvSpPr>
          <p:nvPr>
            <p:ph type="body" sz="half" idx="32" hasCustomPrompt="1"/>
          </p:nvPr>
        </p:nvSpPr>
        <p:spPr>
          <a:xfrm>
            <a:off x="8607978" y="4279279"/>
            <a:ext cx="2743199" cy="1661038"/>
          </a:xfrm>
        </p:spPr>
        <p:txBody>
          <a:bodyPr lIns="0">
            <a:norm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2">
                    <a:lumMod val="10000"/>
                  </a:schemeClr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B25F9D29-933F-BE4B-AC2F-1294FD1EFA2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611152" y="3728956"/>
            <a:ext cx="2736850" cy="487362"/>
          </a:xfr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buNone/>
              <a:defRPr sz="18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1B82A6B9-C70C-4A15-89CD-ACAA8ACF973F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701062" y="798221"/>
            <a:ext cx="2520000" cy="2520000"/>
          </a:xfrm>
          <a:prstGeom prst="ellipse">
            <a:avLst/>
          </a:prstGeom>
          <a:pattFill prst="pct5">
            <a:fgClr>
              <a:schemeClr val="accent1"/>
            </a:fgClr>
            <a:bgClr>
              <a:schemeClr val="bg1">
                <a:lumMod val="95000"/>
              </a:schemeClr>
            </a:bgClr>
          </a:patt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DC95943-3BA8-488D-9BBB-AFBE5C0E9FD5}"/>
              </a:ext>
            </a:extLst>
          </p:cNvPr>
          <p:cNvSpPr/>
          <p:nvPr userDrawn="1"/>
        </p:nvSpPr>
        <p:spPr>
          <a:xfrm>
            <a:off x="7900797" y="3500595"/>
            <a:ext cx="421510" cy="9230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D6C7151-D5DD-483E-97CC-8FF3781025A0}"/>
              </a:ext>
            </a:extLst>
          </p:cNvPr>
          <p:cNvSpPr/>
          <p:nvPr userDrawn="1"/>
        </p:nvSpPr>
        <p:spPr>
          <a:xfrm>
            <a:off x="10939432" y="3502894"/>
            <a:ext cx="421510" cy="9230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38AFF57D-51F1-43C6-B231-A242092B72C9}"/>
              </a:ext>
            </a:extLst>
          </p:cNvPr>
          <p:cNvGrpSpPr/>
          <p:nvPr userDrawn="1"/>
        </p:nvGrpSpPr>
        <p:grpSpPr>
          <a:xfrm>
            <a:off x="5965074" y="6408183"/>
            <a:ext cx="261852" cy="261455"/>
            <a:chOff x="1830159" y="2890771"/>
            <a:chExt cx="588560" cy="587668"/>
          </a:xfrm>
          <a:solidFill>
            <a:schemeClr val="tx2"/>
          </a:solidFill>
        </p:grpSpPr>
        <p:sp>
          <p:nvSpPr>
            <p:cNvPr id="39" name="Rectangle 15">
              <a:extLst>
                <a:ext uri="{FF2B5EF4-FFF2-40B4-BE49-F238E27FC236}">
                  <a16:creationId xmlns:a16="http://schemas.microsoft.com/office/drawing/2014/main" id="{EDBB6CE0-D617-44DB-B488-E1B79A0F0A2F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Rectangle 15">
              <a:extLst>
                <a:ext uri="{FF2B5EF4-FFF2-40B4-BE49-F238E27FC236}">
                  <a16:creationId xmlns:a16="http://schemas.microsoft.com/office/drawing/2014/main" id="{CC558027-9734-48CE-A3C6-CE7D67E651AB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35D5815C-DBB5-477B-84A0-037B1646D316}"/>
              </a:ext>
            </a:extLst>
          </p:cNvPr>
          <p:cNvCxnSpPr>
            <a:cxnSpLocks/>
          </p:cNvCxnSpPr>
          <p:nvPr userDrawn="1"/>
        </p:nvCxnSpPr>
        <p:spPr>
          <a:xfrm>
            <a:off x="2524839" y="3594672"/>
            <a:ext cx="2743200" cy="0"/>
          </a:xfrm>
          <a:prstGeom prst="line">
            <a:avLst/>
          </a:prstGeom>
          <a:ln w="44450">
            <a:solidFill>
              <a:srgbClr val="1919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B38A071F-12AD-4258-B7D7-8ACE1CC5AC52}"/>
              </a:ext>
            </a:extLst>
          </p:cNvPr>
          <p:cNvCxnSpPr>
            <a:cxnSpLocks/>
          </p:cNvCxnSpPr>
          <p:nvPr userDrawn="1"/>
        </p:nvCxnSpPr>
        <p:spPr>
          <a:xfrm>
            <a:off x="2524839" y="3569272"/>
            <a:ext cx="2743200" cy="0"/>
          </a:xfrm>
          <a:prstGeom prst="line">
            <a:avLst/>
          </a:prstGeom>
          <a:ln w="444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AF7EA756-1B3D-4C7A-AF58-51CC38C7B46B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2636438" y="798221"/>
            <a:ext cx="2520000" cy="2520000"/>
          </a:xfrm>
          <a:prstGeom prst="ellipse">
            <a:avLst/>
          </a:prstGeom>
          <a:pattFill prst="pct5">
            <a:fgClr>
              <a:schemeClr val="accent1"/>
            </a:fgClr>
            <a:bgClr>
              <a:schemeClr val="bg1">
                <a:lumMod val="95000"/>
              </a:schemeClr>
            </a:bgClr>
          </a:patt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0ADFA048-BDEB-4CB9-AEA6-FB59596651D1}"/>
              </a:ext>
            </a:extLst>
          </p:cNvPr>
          <p:cNvSpPr>
            <a:spLocks noGrp="1"/>
          </p:cNvSpPr>
          <p:nvPr>
            <p:ph type="body" sz="half" idx="35" hasCustomPrompt="1"/>
          </p:nvPr>
        </p:nvSpPr>
        <p:spPr>
          <a:xfrm>
            <a:off x="2524839" y="4261083"/>
            <a:ext cx="2743199" cy="1676826"/>
          </a:xfrm>
        </p:spPr>
        <p:txBody>
          <a:bodyPr lIns="0">
            <a:norm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2">
                    <a:lumMod val="10000"/>
                  </a:schemeClr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3B5BAFA6-DA4A-4EBD-83B4-F565B286A40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2528013" y="3710760"/>
            <a:ext cx="2736850" cy="487362"/>
          </a:xfr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buNone/>
              <a:defRPr sz="18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C9F0AF37-FC29-4832-AB7E-DF7371C697A8}"/>
              </a:ext>
            </a:extLst>
          </p:cNvPr>
          <p:cNvSpPr/>
          <p:nvPr userDrawn="1"/>
        </p:nvSpPr>
        <p:spPr>
          <a:xfrm>
            <a:off x="4852878" y="3498188"/>
            <a:ext cx="421510" cy="9230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808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 Content D - Black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9864998-21C1-4884-BA9D-291022A650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985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9864998-21C1-4884-BA9D-291022A650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4654D23D-3774-445F-BF7E-30787E338B6E}"/>
              </a:ext>
            </a:extLst>
          </p:cNvPr>
          <p:cNvCxnSpPr>
            <a:cxnSpLocks/>
          </p:cNvCxnSpPr>
          <p:nvPr userDrawn="1"/>
        </p:nvCxnSpPr>
        <p:spPr>
          <a:xfrm>
            <a:off x="5572758" y="3597079"/>
            <a:ext cx="2743200" cy="0"/>
          </a:xfrm>
          <a:prstGeom prst="line">
            <a:avLst/>
          </a:prstGeom>
          <a:ln w="444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2830B593-1DCF-49CC-B4DB-89C6FB755773}"/>
              </a:ext>
            </a:extLst>
          </p:cNvPr>
          <p:cNvCxnSpPr>
            <a:cxnSpLocks/>
          </p:cNvCxnSpPr>
          <p:nvPr userDrawn="1"/>
        </p:nvCxnSpPr>
        <p:spPr>
          <a:xfrm>
            <a:off x="8610598" y="3600554"/>
            <a:ext cx="2743200" cy="0"/>
          </a:xfrm>
          <a:prstGeom prst="line">
            <a:avLst/>
          </a:prstGeom>
          <a:ln w="444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1DDD94-83AE-854D-AA85-D405490CA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868D98-9614-6F4D-9879-BC271C28C5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226219"/>
            <a:ext cx="4576282" cy="365125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6A226-FB73-094F-8B9B-9EE2B6DCCC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BEFE8FC-65B1-2C49-994E-CA795F2BDAF9}"/>
              </a:ext>
            </a:extLst>
          </p:cNvPr>
          <p:cNvCxnSpPr>
            <a:cxnSpLocks/>
          </p:cNvCxnSpPr>
          <p:nvPr userDrawn="1"/>
        </p:nvCxnSpPr>
        <p:spPr>
          <a:xfrm>
            <a:off x="5572758" y="3578029"/>
            <a:ext cx="2743200" cy="0"/>
          </a:xfrm>
          <a:prstGeom prst="line">
            <a:avLst/>
          </a:prstGeom>
          <a:ln w="44450">
            <a:solidFill>
              <a:srgbClr val="C1F50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35489E5-4C19-384C-BFF5-3F8A7A728F02}"/>
              </a:ext>
            </a:extLst>
          </p:cNvPr>
          <p:cNvCxnSpPr>
            <a:cxnSpLocks/>
          </p:cNvCxnSpPr>
          <p:nvPr userDrawn="1"/>
        </p:nvCxnSpPr>
        <p:spPr>
          <a:xfrm>
            <a:off x="8610598" y="3581504"/>
            <a:ext cx="2743200" cy="0"/>
          </a:xfrm>
          <a:prstGeom prst="line">
            <a:avLst/>
          </a:prstGeom>
          <a:ln w="44450">
            <a:solidFill>
              <a:srgbClr val="C1F50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Picture Placeholder 7">
            <a:extLst>
              <a:ext uri="{FF2B5EF4-FFF2-40B4-BE49-F238E27FC236}">
                <a16:creationId xmlns:a16="http://schemas.microsoft.com/office/drawing/2014/main" id="{F9C54EB8-D87A-AA44-B85E-157738DB9648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5684357" y="800628"/>
            <a:ext cx="2520000" cy="2520000"/>
          </a:xfrm>
          <a:prstGeom prst="ellipse">
            <a:avLst/>
          </a:prstGeom>
          <a:pattFill prst="pct5">
            <a:fgClr>
              <a:schemeClr val="accent1"/>
            </a:fgClr>
            <a:bgClr>
              <a:schemeClr val="bg1">
                <a:lumMod val="95000"/>
              </a:schemeClr>
            </a:bgClr>
          </a:patt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to add pictur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7E7AE66C-0658-A247-AC29-2BDA77E0D532}"/>
              </a:ext>
            </a:extLst>
          </p:cNvPr>
          <p:cNvCxnSpPr>
            <a:cxnSpLocks/>
          </p:cNvCxnSpPr>
          <p:nvPr userDrawn="1"/>
        </p:nvCxnSpPr>
        <p:spPr>
          <a:xfrm>
            <a:off x="838199" y="6288108"/>
            <a:ext cx="10515599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03C6193-2296-DD4D-A5DC-C250E0AF36D2}"/>
              </a:ext>
            </a:extLst>
          </p:cNvPr>
          <p:cNvSpPr>
            <a:spLocks noGrp="1"/>
          </p:cNvSpPr>
          <p:nvPr>
            <p:ph type="body" sz="half" idx="30" hasCustomPrompt="1"/>
          </p:nvPr>
        </p:nvSpPr>
        <p:spPr>
          <a:xfrm>
            <a:off x="5572758" y="4263490"/>
            <a:ext cx="2743199" cy="1676826"/>
          </a:xfrm>
        </p:spPr>
        <p:txBody>
          <a:bodyPr lIns="0">
            <a:norm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5B518DA8-A4BE-0245-ACA7-40BFBA397AD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575932" y="3713167"/>
            <a:ext cx="2736850" cy="487362"/>
          </a:xfr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buNone/>
              <a:defRPr sz="1800" b="1" cap="all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C3D3833E-2A89-4A4B-8963-25F28918B39F}"/>
              </a:ext>
            </a:extLst>
          </p:cNvPr>
          <p:cNvSpPr>
            <a:spLocks noGrp="1"/>
          </p:cNvSpPr>
          <p:nvPr>
            <p:ph type="body" sz="half" idx="32" hasCustomPrompt="1"/>
          </p:nvPr>
        </p:nvSpPr>
        <p:spPr>
          <a:xfrm>
            <a:off x="8607978" y="4279279"/>
            <a:ext cx="2743199" cy="1661038"/>
          </a:xfrm>
        </p:spPr>
        <p:txBody>
          <a:bodyPr lIns="0">
            <a:norm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B25F9D29-933F-BE4B-AC2F-1294FD1EFA2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611152" y="3728956"/>
            <a:ext cx="2736850" cy="487362"/>
          </a:xfr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buNone/>
              <a:defRPr sz="1800" b="1" cap="all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5F2B79F6-43EA-9248-A433-51CF59AF0D5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38198" y="1948541"/>
            <a:ext cx="4234681" cy="4047447"/>
          </a:xfrm>
        </p:spPr>
        <p:txBody>
          <a:bodyPr l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3993F290-1FD2-D542-A381-1A9E41E121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1" y="681037"/>
            <a:ext cx="4234678" cy="1177811"/>
          </a:xfrm>
        </p:spPr>
        <p:txBody>
          <a:bodyPr vert="horz" lIns="0" anchor="b">
            <a:normAutofit/>
          </a:bodyPr>
          <a:lstStyle>
            <a:lvl1pPr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1B82A6B9-C70C-4A15-89CD-ACAA8ACF973F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701062" y="798221"/>
            <a:ext cx="2520000" cy="2520000"/>
          </a:xfrm>
          <a:prstGeom prst="ellipse">
            <a:avLst/>
          </a:prstGeom>
          <a:pattFill prst="pct5">
            <a:fgClr>
              <a:schemeClr val="accent1"/>
            </a:fgClr>
            <a:bgClr>
              <a:schemeClr val="bg1">
                <a:lumMod val="95000"/>
              </a:schemeClr>
            </a:bgClr>
          </a:patt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DC95943-3BA8-488D-9BBB-AFBE5C0E9FD5}"/>
              </a:ext>
            </a:extLst>
          </p:cNvPr>
          <p:cNvSpPr/>
          <p:nvPr userDrawn="1"/>
        </p:nvSpPr>
        <p:spPr>
          <a:xfrm>
            <a:off x="7900797" y="3506945"/>
            <a:ext cx="421510" cy="92308"/>
          </a:xfrm>
          <a:prstGeom prst="rect">
            <a:avLst/>
          </a:prstGeom>
          <a:solidFill>
            <a:srgbClr val="C1F5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D6C7151-D5DD-483E-97CC-8FF3781025A0}"/>
              </a:ext>
            </a:extLst>
          </p:cNvPr>
          <p:cNvSpPr/>
          <p:nvPr userDrawn="1"/>
        </p:nvSpPr>
        <p:spPr>
          <a:xfrm>
            <a:off x="10939432" y="3509244"/>
            <a:ext cx="421510" cy="92308"/>
          </a:xfrm>
          <a:prstGeom prst="rect">
            <a:avLst/>
          </a:prstGeom>
          <a:solidFill>
            <a:srgbClr val="C1F5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C76BE246-0188-4807-9CF4-544F178B6D04}"/>
              </a:ext>
            </a:extLst>
          </p:cNvPr>
          <p:cNvGrpSpPr/>
          <p:nvPr userDrawn="1"/>
        </p:nvGrpSpPr>
        <p:grpSpPr>
          <a:xfrm>
            <a:off x="5965074" y="6408183"/>
            <a:ext cx="261852" cy="261455"/>
            <a:chOff x="1830159" y="2890771"/>
            <a:chExt cx="588560" cy="587668"/>
          </a:xfrm>
          <a:solidFill>
            <a:schemeClr val="bg1"/>
          </a:solidFill>
        </p:grpSpPr>
        <p:sp>
          <p:nvSpPr>
            <p:cNvPr id="30" name="Rectangle 15">
              <a:extLst>
                <a:ext uri="{FF2B5EF4-FFF2-40B4-BE49-F238E27FC236}">
                  <a16:creationId xmlns:a16="http://schemas.microsoft.com/office/drawing/2014/main" id="{69FC138A-1D3F-4B4E-8C81-521FD5ADE8C6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tangle 15">
              <a:extLst>
                <a:ext uri="{FF2B5EF4-FFF2-40B4-BE49-F238E27FC236}">
                  <a16:creationId xmlns:a16="http://schemas.microsoft.com/office/drawing/2014/main" id="{37EB80D6-2A46-4108-A2E2-596A53265C44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87059997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 Content D - Blu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BF079BF-1A3C-4CFD-9E45-07A1B90061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8429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BF079BF-1A3C-4CFD-9E45-07A1B90061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4E9D8647-AE34-42EA-B441-3A098144EC3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89B1A9B-27FB-4BD8-8652-93F438684899}"/>
              </a:ext>
            </a:extLst>
          </p:cNvPr>
          <p:cNvCxnSpPr>
            <a:cxnSpLocks/>
          </p:cNvCxnSpPr>
          <p:nvPr userDrawn="1"/>
        </p:nvCxnSpPr>
        <p:spPr>
          <a:xfrm>
            <a:off x="5572758" y="3597079"/>
            <a:ext cx="2743200" cy="0"/>
          </a:xfrm>
          <a:prstGeom prst="line">
            <a:avLst/>
          </a:prstGeom>
          <a:ln w="44450">
            <a:solidFill>
              <a:srgbClr val="C1F50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655A577-F28B-4ABD-ACAB-0BEE09B9E518}"/>
              </a:ext>
            </a:extLst>
          </p:cNvPr>
          <p:cNvCxnSpPr>
            <a:cxnSpLocks/>
          </p:cNvCxnSpPr>
          <p:nvPr userDrawn="1"/>
        </p:nvCxnSpPr>
        <p:spPr>
          <a:xfrm>
            <a:off x="8610598" y="3600554"/>
            <a:ext cx="2743200" cy="0"/>
          </a:xfrm>
          <a:prstGeom prst="line">
            <a:avLst/>
          </a:prstGeom>
          <a:ln w="44450">
            <a:solidFill>
              <a:srgbClr val="C1F50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1DDD94-83AE-854D-AA85-D405490CA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868D98-9614-6F4D-9879-BC271C28C5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226219"/>
            <a:ext cx="4576282" cy="365125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6A226-FB73-094F-8B9B-9EE2B6DCCC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BEFE8FC-65B1-2C49-994E-CA795F2BDAF9}"/>
              </a:ext>
            </a:extLst>
          </p:cNvPr>
          <p:cNvCxnSpPr>
            <a:cxnSpLocks/>
          </p:cNvCxnSpPr>
          <p:nvPr userDrawn="1"/>
        </p:nvCxnSpPr>
        <p:spPr>
          <a:xfrm>
            <a:off x="5572758" y="3578029"/>
            <a:ext cx="2743200" cy="0"/>
          </a:xfrm>
          <a:prstGeom prst="line">
            <a:avLst/>
          </a:prstGeom>
          <a:ln w="44450">
            <a:solidFill>
              <a:srgbClr val="1919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35489E5-4C19-384C-BFF5-3F8A7A728F02}"/>
              </a:ext>
            </a:extLst>
          </p:cNvPr>
          <p:cNvCxnSpPr>
            <a:cxnSpLocks/>
          </p:cNvCxnSpPr>
          <p:nvPr userDrawn="1"/>
        </p:nvCxnSpPr>
        <p:spPr>
          <a:xfrm>
            <a:off x="8610598" y="3581504"/>
            <a:ext cx="2743200" cy="0"/>
          </a:xfrm>
          <a:prstGeom prst="line">
            <a:avLst/>
          </a:prstGeom>
          <a:ln w="44450">
            <a:solidFill>
              <a:srgbClr val="1919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Picture Placeholder 7">
            <a:extLst>
              <a:ext uri="{FF2B5EF4-FFF2-40B4-BE49-F238E27FC236}">
                <a16:creationId xmlns:a16="http://schemas.microsoft.com/office/drawing/2014/main" id="{F9C54EB8-D87A-AA44-B85E-157738DB9648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5684357" y="800628"/>
            <a:ext cx="2520000" cy="2520000"/>
          </a:xfrm>
          <a:prstGeom prst="ellipse">
            <a:avLst/>
          </a:prstGeom>
          <a:pattFill prst="pct5">
            <a:fgClr>
              <a:schemeClr val="accent1"/>
            </a:fgClr>
            <a:bgClr>
              <a:schemeClr val="bg1">
                <a:lumMod val="95000"/>
              </a:schemeClr>
            </a:bgClr>
          </a:patt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to add pictur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7E7AE66C-0658-A247-AC29-2BDA77E0D532}"/>
              </a:ext>
            </a:extLst>
          </p:cNvPr>
          <p:cNvCxnSpPr>
            <a:cxnSpLocks/>
          </p:cNvCxnSpPr>
          <p:nvPr userDrawn="1"/>
        </p:nvCxnSpPr>
        <p:spPr>
          <a:xfrm>
            <a:off x="838199" y="6288108"/>
            <a:ext cx="10515599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03C6193-2296-DD4D-A5DC-C250E0AF36D2}"/>
              </a:ext>
            </a:extLst>
          </p:cNvPr>
          <p:cNvSpPr>
            <a:spLocks noGrp="1"/>
          </p:cNvSpPr>
          <p:nvPr>
            <p:ph type="body" sz="half" idx="30" hasCustomPrompt="1"/>
          </p:nvPr>
        </p:nvSpPr>
        <p:spPr>
          <a:xfrm>
            <a:off x="5572758" y="4263490"/>
            <a:ext cx="2743199" cy="1676826"/>
          </a:xfrm>
        </p:spPr>
        <p:txBody>
          <a:bodyPr lIns="0">
            <a:norm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5B518DA8-A4BE-0245-ACA7-40BFBA397AD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575932" y="3713167"/>
            <a:ext cx="2736850" cy="487362"/>
          </a:xfr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buNone/>
              <a:defRPr sz="1800" b="1" cap="all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C3D3833E-2A89-4A4B-8963-25F28918B39F}"/>
              </a:ext>
            </a:extLst>
          </p:cNvPr>
          <p:cNvSpPr>
            <a:spLocks noGrp="1"/>
          </p:cNvSpPr>
          <p:nvPr>
            <p:ph type="body" sz="half" idx="32" hasCustomPrompt="1"/>
          </p:nvPr>
        </p:nvSpPr>
        <p:spPr>
          <a:xfrm>
            <a:off x="8607978" y="4279279"/>
            <a:ext cx="2743199" cy="1661038"/>
          </a:xfrm>
        </p:spPr>
        <p:txBody>
          <a:bodyPr lIns="0">
            <a:norm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B25F9D29-933F-BE4B-AC2F-1294FD1EFA2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611152" y="3728956"/>
            <a:ext cx="2736850" cy="487362"/>
          </a:xfrm>
        </p:spPr>
        <p:txBody>
          <a:bodyPr lIns="0" anchor="ctr">
            <a:noAutofit/>
          </a:bodyPr>
          <a:lstStyle>
            <a:lvl1pPr marL="0" indent="0">
              <a:lnSpc>
                <a:spcPct val="100000"/>
              </a:lnSpc>
              <a:buNone/>
              <a:defRPr sz="1800" b="1" cap="all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5F2B79F6-43EA-9248-A433-51CF59AF0D5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38198" y="1948541"/>
            <a:ext cx="4234681" cy="4047447"/>
          </a:xfrm>
        </p:spPr>
        <p:txBody>
          <a:bodyPr l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3993F290-1FD2-D542-A381-1A9E41E121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1" y="681037"/>
            <a:ext cx="4234678" cy="1177811"/>
          </a:xfrm>
        </p:spPr>
        <p:txBody>
          <a:bodyPr vert="horz" lIns="0" anchor="b">
            <a:normAutofit/>
          </a:bodyPr>
          <a:lstStyle>
            <a:lvl1pPr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1B82A6B9-C70C-4A15-89CD-ACAA8ACF973F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701062" y="798221"/>
            <a:ext cx="2520000" cy="2520000"/>
          </a:xfrm>
          <a:prstGeom prst="ellipse">
            <a:avLst/>
          </a:prstGeom>
          <a:pattFill prst="pct5">
            <a:fgClr>
              <a:schemeClr val="accent1"/>
            </a:fgClr>
            <a:bgClr>
              <a:schemeClr val="bg1">
                <a:lumMod val="95000"/>
              </a:schemeClr>
            </a:bgClr>
          </a:patt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DC95943-3BA8-488D-9BBB-AFBE5C0E9FD5}"/>
              </a:ext>
            </a:extLst>
          </p:cNvPr>
          <p:cNvSpPr/>
          <p:nvPr userDrawn="1"/>
        </p:nvSpPr>
        <p:spPr>
          <a:xfrm>
            <a:off x="7900797" y="3506945"/>
            <a:ext cx="421510" cy="92308"/>
          </a:xfrm>
          <a:prstGeom prst="rect">
            <a:avLst/>
          </a:prstGeom>
          <a:solidFill>
            <a:srgbClr val="19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D6C7151-D5DD-483E-97CC-8FF3781025A0}"/>
              </a:ext>
            </a:extLst>
          </p:cNvPr>
          <p:cNvSpPr/>
          <p:nvPr userDrawn="1"/>
        </p:nvSpPr>
        <p:spPr>
          <a:xfrm>
            <a:off x="10939432" y="3509244"/>
            <a:ext cx="421510" cy="92308"/>
          </a:xfrm>
          <a:prstGeom prst="rect">
            <a:avLst/>
          </a:prstGeom>
          <a:solidFill>
            <a:srgbClr val="19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090E1C1-A4A9-446E-8AB3-A9217FCB4A22}"/>
              </a:ext>
            </a:extLst>
          </p:cNvPr>
          <p:cNvGrpSpPr/>
          <p:nvPr userDrawn="1"/>
        </p:nvGrpSpPr>
        <p:grpSpPr>
          <a:xfrm>
            <a:off x="5965074" y="6408183"/>
            <a:ext cx="261852" cy="261455"/>
            <a:chOff x="1830159" y="2890771"/>
            <a:chExt cx="588560" cy="587668"/>
          </a:xfrm>
          <a:solidFill>
            <a:schemeClr val="bg1"/>
          </a:solidFill>
        </p:grpSpPr>
        <p:sp>
          <p:nvSpPr>
            <p:cNvPr id="28" name="Rectangle 15">
              <a:extLst>
                <a:ext uri="{FF2B5EF4-FFF2-40B4-BE49-F238E27FC236}">
                  <a16:creationId xmlns:a16="http://schemas.microsoft.com/office/drawing/2014/main" id="{2101822A-8D83-4236-A6FF-ECE1590202C3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tangle 15">
              <a:extLst>
                <a:ext uri="{FF2B5EF4-FFF2-40B4-BE49-F238E27FC236}">
                  <a16:creationId xmlns:a16="http://schemas.microsoft.com/office/drawing/2014/main" id="{D9FB3831-94ED-4A07-B52D-195E2213AB58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37573480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 Content 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1DDD94-83AE-854D-AA85-D405490CA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/>
          <a:lstStyle>
            <a:lvl1pPr>
              <a:defRPr cap="all" baseline="0"/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868D98-9614-6F4D-9879-BC271C28C5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6A226-FB73-094F-8B9B-9EE2B6DCCC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/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669E5356-EFDC-7043-8B64-2B1A128A22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716898"/>
            <a:ext cx="10515600" cy="583740"/>
          </a:xfrm>
        </p:spPr>
        <p:txBody>
          <a:bodyPr>
            <a:noAutofit/>
          </a:bodyPr>
          <a:lstStyle>
            <a:lvl1pPr algn="ctr">
              <a:defRPr sz="3600" b="0"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47F8F44-3769-D14D-A757-EA2727F4AA3E}"/>
              </a:ext>
            </a:extLst>
          </p:cNvPr>
          <p:cNvSpPr/>
          <p:nvPr userDrawn="1"/>
        </p:nvSpPr>
        <p:spPr>
          <a:xfrm>
            <a:off x="838198" y="1600202"/>
            <a:ext cx="2469254" cy="4518085"/>
          </a:xfrm>
          <a:prstGeom prst="rect">
            <a:avLst/>
          </a:prstGeom>
          <a:noFill/>
          <a:ln w="190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464C9B6-B5E2-FB4F-8B63-D7144458B19E}"/>
              </a:ext>
            </a:extLst>
          </p:cNvPr>
          <p:cNvSpPr/>
          <p:nvPr userDrawn="1"/>
        </p:nvSpPr>
        <p:spPr>
          <a:xfrm>
            <a:off x="6188248" y="1600202"/>
            <a:ext cx="2469254" cy="4518085"/>
          </a:xfrm>
          <a:prstGeom prst="rect">
            <a:avLst/>
          </a:prstGeom>
          <a:noFill/>
          <a:ln w="190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4C77D9E-C9D2-8B4E-A88F-C33C414DD3A3}"/>
              </a:ext>
            </a:extLst>
          </p:cNvPr>
          <p:cNvSpPr/>
          <p:nvPr userDrawn="1"/>
        </p:nvSpPr>
        <p:spPr>
          <a:xfrm>
            <a:off x="3491951" y="1600202"/>
            <a:ext cx="2469254" cy="4518085"/>
          </a:xfrm>
          <a:prstGeom prst="rect">
            <a:avLst/>
          </a:prstGeom>
          <a:noFill/>
          <a:ln w="190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3061750-5330-1E40-A6DB-6A2EC70A5C02}"/>
              </a:ext>
            </a:extLst>
          </p:cNvPr>
          <p:cNvSpPr/>
          <p:nvPr userDrawn="1"/>
        </p:nvSpPr>
        <p:spPr>
          <a:xfrm>
            <a:off x="8884544" y="1600202"/>
            <a:ext cx="2469254" cy="4518085"/>
          </a:xfrm>
          <a:prstGeom prst="rect">
            <a:avLst/>
          </a:prstGeom>
          <a:noFill/>
          <a:ln w="190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C923BED9-25B5-2747-8A7E-2FABE520729C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041341" y="3343754"/>
            <a:ext cx="2043689" cy="256286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2">
                    <a:lumMod val="10000"/>
                  </a:schemeClr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82E4E6BB-C42B-6E4E-9E75-D838645EE919}"/>
              </a:ext>
            </a:extLst>
          </p:cNvPr>
          <p:cNvSpPr>
            <a:spLocks noGrp="1"/>
          </p:cNvSpPr>
          <p:nvPr>
            <p:ph type="body" sz="half" idx="13" hasCustomPrompt="1"/>
          </p:nvPr>
        </p:nvSpPr>
        <p:spPr>
          <a:xfrm>
            <a:off x="3704732" y="3343753"/>
            <a:ext cx="2043689" cy="256286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2">
                    <a:lumMod val="10000"/>
                  </a:schemeClr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E5AECFF0-8E92-5548-8EB1-DB587751250E}"/>
              </a:ext>
            </a:extLst>
          </p:cNvPr>
          <p:cNvSpPr>
            <a:spLocks noGrp="1"/>
          </p:cNvSpPr>
          <p:nvPr>
            <p:ph type="body" sz="half" idx="14" hasCustomPrompt="1"/>
          </p:nvPr>
        </p:nvSpPr>
        <p:spPr>
          <a:xfrm>
            <a:off x="6401030" y="3343753"/>
            <a:ext cx="2043689" cy="256286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2">
                    <a:lumMod val="10000"/>
                  </a:schemeClr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9C4E7E69-1654-354F-82D9-A65258412E4E}"/>
              </a:ext>
            </a:extLst>
          </p:cNvPr>
          <p:cNvSpPr>
            <a:spLocks noGrp="1"/>
          </p:cNvSpPr>
          <p:nvPr>
            <p:ph type="body" sz="half" idx="15" hasCustomPrompt="1"/>
          </p:nvPr>
        </p:nvSpPr>
        <p:spPr>
          <a:xfrm>
            <a:off x="9098836" y="3343752"/>
            <a:ext cx="2043689" cy="256286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2">
                    <a:lumMod val="10000"/>
                  </a:schemeClr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CFFD3CF-B141-5348-AA0E-D4F66CA8E414}"/>
              </a:ext>
            </a:extLst>
          </p:cNvPr>
          <p:cNvCxnSpPr>
            <a:cxnSpLocks/>
          </p:cNvCxnSpPr>
          <p:nvPr userDrawn="1"/>
        </p:nvCxnSpPr>
        <p:spPr>
          <a:xfrm>
            <a:off x="838199" y="6288108"/>
            <a:ext cx="10515599" cy="0"/>
          </a:xfrm>
          <a:prstGeom prst="line">
            <a:avLst/>
          </a:prstGeom>
          <a:ln w="19050">
            <a:solidFill>
              <a:srgbClr val="1919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phic 6">
            <a:extLst>
              <a:ext uri="{FF2B5EF4-FFF2-40B4-BE49-F238E27FC236}">
                <a16:creationId xmlns:a16="http://schemas.microsoft.com/office/drawing/2014/main" id="{3DAF4A1A-752D-493C-854C-B237C8063C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65082" y="1658858"/>
            <a:ext cx="195645" cy="195645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DCDDDDE3-1650-4659-9D5D-DD3F95C7C3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22557" y="1658858"/>
            <a:ext cx="195645" cy="195645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A0C08FA2-EA97-4856-B8ED-4FC98056FEE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18132" y="1658858"/>
            <a:ext cx="195645" cy="195645"/>
          </a:xfrm>
          <a:prstGeom prst="rect">
            <a:avLst/>
          </a:prstGeom>
        </p:spPr>
      </p:pic>
      <p:pic>
        <p:nvPicPr>
          <p:cNvPr id="37" name="Graphic 36">
            <a:extLst>
              <a:ext uri="{FF2B5EF4-FFF2-40B4-BE49-F238E27FC236}">
                <a16:creationId xmlns:a16="http://schemas.microsoft.com/office/drawing/2014/main" id="{F315F71D-D974-41E1-AD73-24E1D59D8E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13707" y="1658858"/>
            <a:ext cx="195645" cy="195645"/>
          </a:xfrm>
          <a:prstGeom prst="rect">
            <a:avLst/>
          </a:prstGeom>
        </p:spPr>
      </p:pic>
      <p:grpSp>
        <p:nvGrpSpPr>
          <p:cNvPr id="38" name="Group 37">
            <a:extLst>
              <a:ext uri="{FF2B5EF4-FFF2-40B4-BE49-F238E27FC236}">
                <a16:creationId xmlns:a16="http://schemas.microsoft.com/office/drawing/2014/main" id="{A168E7B2-64E3-4B2E-A854-893558554123}"/>
              </a:ext>
            </a:extLst>
          </p:cNvPr>
          <p:cNvGrpSpPr/>
          <p:nvPr userDrawn="1"/>
        </p:nvGrpSpPr>
        <p:grpSpPr>
          <a:xfrm>
            <a:off x="5965074" y="6408183"/>
            <a:ext cx="261852" cy="261455"/>
            <a:chOff x="1830159" y="2890771"/>
            <a:chExt cx="588560" cy="587668"/>
          </a:xfrm>
          <a:solidFill>
            <a:schemeClr val="tx2"/>
          </a:solidFill>
        </p:grpSpPr>
        <p:sp>
          <p:nvSpPr>
            <p:cNvPr id="39" name="Rectangle 15">
              <a:extLst>
                <a:ext uri="{FF2B5EF4-FFF2-40B4-BE49-F238E27FC236}">
                  <a16:creationId xmlns:a16="http://schemas.microsoft.com/office/drawing/2014/main" id="{1276F9CA-BE90-4325-85ED-A7006AC621AF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Rectangle 15">
              <a:extLst>
                <a:ext uri="{FF2B5EF4-FFF2-40B4-BE49-F238E27FC236}">
                  <a16:creationId xmlns:a16="http://schemas.microsoft.com/office/drawing/2014/main" id="{182D95FF-A692-4614-9023-BBC748AB23E0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6063599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 Content F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1DDD94-83AE-854D-AA85-D405490CA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/>
          <a:lstStyle>
            <a:lvl1pPr>
              <a:defRPr cap="all" baseline="0"/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868D98-9614-6F4D-9879-BC271C28C5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226219"/>
            <a:ext cx="5775960" cy="365125"/>
          </a:xfrm>
        </p:spPr>
        <p:txBody>
          <a:bodyPr lIns="0"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6A226-FB73-094F-8B9B-9EE2B6DCCC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/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D16DBAB4-ECB5-3246-983C-381D24994127}"/>
              </a:ext>
            </a:extLst>
          </p:cNvPr>
          <p:cNvSpPr>
            <a:spLocks noGrp="1"/>
          </p:cNvSpPr>
          <p:nvPr>
            <p:ph type="body" sz="half" idx="17" hasCustomPrompt="1"/>
          </p:nvPr>
        </p:nvSpPr>
        <p:spPr>
          <a:xfrm>
            <a:off x="4648402" y="4148193"/>
            <a:ext cx="2933382" cy="1827633"/>
          </a:xfrm>
        </p:spPr>
        <p:txBody>
          <a:bodyPr lIns="0">
            <a:norm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2">
                    <a:lumMod val="10000"/>
                  </a:schemeClr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B0C29444-D92F-9E45-979A-CCDA3E533A69}"/>
              </a:ext>
            </a:extLst>
          </p:cNvPr>
          <p:cNvSpPr>
            <a:spLocks noGrp="1"/>
          </p:cNvSpPr>
          <p:nvPr>
            <p:ph type="body" sz="half" idx="18" hasCustomPrompt="1"/>
          </p:nvPr>
        </p:nvSpPr>
        <p:spPr>
          <a:xfrm>
            <a:off x="8391740" y="4148193"/>
            <a:ext cx="2915603" cy="182763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2">
                    <a:lumMod val="10000"/>
                  </a:schemeClr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7BEE001-5E12-7741-BD7C-E0F28133BD6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95313" y="3627443"/>
            <a:ext cx="2908855" cy="487362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None/>
              <a:defRPr sz="18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F955EE19-1A17-2C4D-BB0E-D3B5208A5C5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643320" y="3627442"/>
            <a:ext cx="2926593" cy="487362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None/>
              <a:defRPr sz="18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BEFE8FC-65B1-2C49-994E-CA795F2BDAF9}"/>
              </a:ext>
            </a:extLst>
          </p:cNvPr>
          <p:cNvCxnSpPr>
            <a:cxnSpLocks/>
          </p:cNvCxnSpPr>
          <p:nvPr userDrawn="1"/>
        </p:nvCxnSpPr>
        <p:spPr>
          <a:xfrm>
            <a:off x="4643321" y="3517704"/>
            <a:ext cx="2926080" cy="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7E7AE66C-0658-A247-AC29-2BDA77E0D532}"/>
              </a:ext>
            </a:extLst>
          </p:cNvPr>
          <p:cNvCxnSpPr>
            <a:cxnSpLocks/>
          </p:cNvCxnSpPr>
          <p:nvPr userDrawn="1"/>
        </p:nvCxnSpPr>
        <p:spPr>
          <a:xfrm>
            <a:off x="838199" y="6288108"/>
            <a:ext cx="10515599" cy="0"/>
          </a:xfrm>
          <a:prstGeom prst="line">
            <a:avLst/>
          </a:prstGeom>
          <a:ln w="19050">
            <a:solidFill>
              <a:srgbClr val="1919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4077139B-C398-C845-83A5-05CACA5F86CD}"/>
              </a:ext>
            </a:extLst>
          </p:cNvPr>
          <p:cNvSpPr>
            <a:spLocks noGrp="1"/>
          </p:cNvSpPr>
          <p:nvPr>
            <p:ph type="body" sz="half" idx="30" hasCustomPrompt="1"/>
          </p:nvPr>
        </p:nvSpPr>
        <p:spPr>
          <a:xfrm>
            <a:off x="895826" y="4146744"/>
            <a:ext cx="2933381" cy="1827633"/>
          </a:xfrm>
        </p:spPr>
        <p:txBody>
          <a:bodyPr lIns="0">
            <a:norm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2">
                    <a:lumMod val="10000"/>
                  </a:schemeClr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516F7E89-5A8C-2643-9DCB-B19F92F3B42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99000" y="3625994"/>
            <a:ext cx="2926591" cy="487362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buNone/>
              <a:defRPr sz="18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EAD5C45-D7E0-4C26-9A6C-4FCA38760D3D}"/>
              </a:ext>
            </a:extLst>
          </p:cNvPr>
          <p:cNvSpPr/>
          <p:nvPr userDrawn="1"/>
        </p:nvSpPr>
        <p:spPr>
          <a:xfrm>
            <a:off x="7160274" y="3448791"/>
            <a:ext cx="421510" cy="92308"/>
          </a:xfrm>
          <a:prstGeom prst="rect">
            <a:avLst/>
          </a:prstGeom>
          <a:solidFill>
            <a:srgbClr val="0D64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489C76C5-387B-4FE0-9830-DA7A86D52D10}"/>
              </a:ext>
            </a:extLst>
          </p:cNvPr>
          <p:cNvGrpSpPr/>
          <p:nvPr userDrawn="1"/>
        </p:nvGrpSpPr>
        <p:grpSpPr>
          <a:xfrm>
            <a:off x="5965074" y="6408183"/>
            <a:ext cx="261852" cy="261455"/>
            <a:chOff x="1830159" y="2890771"/>
            <a:chExt cx="588560" cy="587668"/>
          </a:xfrm>
          <a:solidFill>
            <a:schemeClr val="tx2"/>
          </a:solidFill>
        </p:grpSpPr>
        <p:sp>
          <p:nvSpPr>
            <p:cNvPr id="39" name="Rectangle 15">
              <a:extLst>
                <a:ext uri="{FF2B5EF4-FFF2-40B4-BE49-F238E27FC236}">
                  <a16:creationId xmlns:a16="http://schemas.microsoft.com/office/drawing/2014/main" id="{26766813-E83C-4F65-9A0D-61EA94B6412A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Rectangle 15">
              <a:extLst>
                <a:ext uri="{FF2B5EF4-FFF2-40B4-BE49-F238E27FC236}">
                  <a16:creationId xmlns:a16="http://schemas.microsoft.com/office/drawing/2014/main" id="{D3D1C2FA-D9CE-45C4-9ED7-12FAB2524BB3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0660D530-12B3-1BB5-27EF-DBCC34E44838}"/>
              </a:ext>
            </a:extLst>
          </p:cNvPr>
          <p:cNvCxnSpPr>
            <a:cxnSpLocks/>
          </p:cNvCxnSpPr>
          <p:nvPr userDrawn="1"/>
        </p:nvCxnSpPr>
        <p:spPr>
          <a:xfrm>
            <a:off x="887888" y="3505648"/>
            <a:ext cx="2926080" cy="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F36DDDBA-944F-0310-F838-0EE3ED181C2D}"/>
              </a:ext>
            </a:extLst>
          </p:cNvPr>
          <p:cNvSpPr/>
          <p:nvPr userDrawn="1"/>
        </p:nvSpPr>
        <p:spPr>
          <a:xfrm>
            <a:off x="3404841" y="3436735"/>
            <a:ext cx="421510" cy="92308"/>
          </a:xfrm>
          <a:prstGeom prst="rect">
            <a:avLst/>
          </a:prstGeom>
          <a:solidFill>
            <a:srgbClr val="0D64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970CF74-874B-D25F-8605-58C6A19D6C48}"/>
              </a:ext>
            </a:extLst>
          </p:cNvPr>
          <p:cNvCxnSpPr>
            <a:cxnSpLocks/>
          </p:cNvCxnSpPr>
          <p:nvPr userDrawn="1"/>
        </p:nvCxnSpPr>
        <p:spPr>
          <a:xfrm>
            <a:off x="8395313" y="3528407"/>
            <a:ext cx="2926080" cy="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2F5220E5-9E51-C7C7-A87F-419FE81E9234}"/>
              </a:ext>
            </a:extLst>
          </p:cNvPr>
          <p:cNvSpPr/>
          <p:nvPr userDrawn="1"/>
        </p:nvSpPr>
        <p:spPr>
          <a:xfrm>
            <a:off x="10902741" y="3459494"/>
            <a:ext cx="421510" cy="92308"/>
          </a:xfrm>
          <a:prstGeom prst="rect">
            <a:avLst/>
          </a:prstGeom>
          <a:solidFill>
            <a:srgbClr val="0D64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83554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 Content 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68D8E55-4E46-4A09-B97D-A2A1F636C4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99694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68D8E55-4E46-4A09-B97D-A2A1F636C4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877084F3-8311-4486-A218-D4B366A7F0C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4AB95CBC-2747-8045-8381-5EECD50535C1}"/>
              </a:ext>
            </a:extLst>
          </p:cNvPr>
          <p:cNvSpPr>
            <a:spLocks noGrp="1"/>
          </p:cNvSpPr>
          <p:nvPr>
            <p:ph type="body" sz="half" idx="29"/>
          </p:nvPr>
        </p:nvSpPr>
        <p:spPr>
          <a:xfrm>
            <a:off x="831099" y="966884"/>
            <a:ext cx="2403178" cy="2413553"/>
          </a:xfrm>
          <a:prstGeom prst="ellipse">
            <a:avLst/>
          </a:prstGeom>
          <a:noFill/>
          <a:ln w="25400">
            <a:solidFill>
              <a:schemeClr val="accent3"/>
            </a:solidFill>
          </a:ln>
        </p:spPr>
        <p:txBody>
          <a:bodyPr anchor="ctr">
            <a:noAutofit/>
          </a:bodyPr>
          <a:lstStyle>
            <a:lvl1pPr marL="0" indent="0" algn="ctr">
              <a:buNone/>
              <a:defRPr sz="8000" b="1">
                <a:noFill/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44A79E08-E50D-8948-B9A8-78676C042F8A}"/>
              </a:ext>
            </a:extLst>
          </p:cNvPr>
          <p:cNvSpPr>
            <a:spLocks noGrp="1"/>
          </p:cNvSpPr>
          <p:nvPr>
            <p:ph type="body" sz="half" idx="30"/>
          </p:nvPr>
        </p:nvSpPr>
        <p:spPr>
          <a:xfrm>
            <a:off x="4900369" y="966883"/>
            <a:ext cx="2403178" cy="2413553"/>
          </a:xfrm>
          <a:prstGeom prst="ellipse">
            <a:avLst/>
          </a:prstGeom>
          <a:noFill/>
          <a:ln w="25400">
            <a:solidFill>
              <a:schemeClr val="accent3"/>
            </a:solidFill>
          </a:ln>
        </p:spPr>
        <p:txBody>
          <a:bodyPr anchor="ctr">
            <a:noAutofit/>
          </a:bodyPr>
          <a:lstStyle>
            <a:lvl1pPr marL="0" indent="0" algn="ctr">
              <a:buNone/>
              <a:defRPr sz="8000" b="1">
                <a:noFill/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1D4960DC-24A0-1647-988D-E5BAD0638746}"/>
              </a:ext>
            </a:extLst>
          </p:cNvPr>
          <p:cNvSpPr>
            <a:spLocks noGrp="1"/>
          </p:cNvSpPr>
          <p:nvPr>
            <p:ph type="body" sz="half" idx="31"/>
          </p:nvPr>
        </p:nvSpPr>
        <p:spPr>
          <a:xfrm>
            <a:off x="8939522" y="962882"/>
            <a:ext cx="2403178" cy="2413553"/>
          </a:xfrm>
          <a:prstGeom prst="ellipse">
            <a:avLst/>
          </a:prstGeom>
          <a:noFill/>
          <a:ln w="25400">
            <a:solidFill>
              <a:schemeClr val="accent3"/>
            </a:solidFill>
          </a:ln>
        </p:spPr>
        <p:txBody>
          <a:bodyPr anchor="ctr">
            <a:noAutofit/>
          </a:bodyPr>
          <a:lstStyle>
            <a:lvl1pPr marL="0" indent="0" algn="ctr">
              <a:buNone/>
              <a:defRPr sz="8000" b="1">
                <a:noFill/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1DDD94-83AE-854D-AA85-D405490CA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/>
          <a:lstStyle>
            <a:lvl1pPr>
              <a:defRPr cap="all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6A226-FB73-094F-8B9B-9EE2B6DCCC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39403089-069E-CE4D-B79A-1EE1D7FC91E7}"/>
              </a:ext>
            </a:extLst>
          </p:cNvPr>
          <p:cNvSpPr>
            <a:spLocks noGrp="1"/>
          </p:cNvSpPr>
          <p:nvPr>
            <p:ph type="body" sz="half" idx="19" hasCustomPrompt="1"/>
          </p:nvPr>
        </p:nvSpPr>
        <p:spPr>
          <a:xfrm>
            <a:off x="429052" y="4155844"/>
            <a:ext cx="3207276" cy="1700417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bg2">
                    <a:lumMod val="10000"/>
                  </a:schemeClr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8ECF017F-6E77-F949-B324-D754509B19F1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4477019" y="4154324"/>
            <a:ext cx="3207276" cy="1700417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bg2">
                    <a:lumMod val="10000"/>
                  </a:schemeClr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D92592BB-0E88-9643-A492-89D68D02A577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8546368" y="4154324"/>
            <a:ext cx="3207276" cy="1700417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bg2">
                    <a:lumMod val="10000"/>
                  </a:schemeClr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E36436E6-5081-FD49-B67B-42BC0C02D715}"/>
              </a:ext>
            </a:extLst>
          </p:cNvPr>
          <p:cNvSpPr>
            <a:spLocks noGrp="1"/>
          </p:cNvSpPr>
          <p:nvPr>
            <p:ph type="body" sz="half" idx="26" hasCustomPrompt="1"/>
          </p:nvPr>
        </p:nvSpPr>
        <p:spPr>
          <a:xfrm>
            <a:off x="954642" y="1086959"/>
            <a:ext cx="2156092" cy="2165400"/>
          </a:xfrm>
          <a:prstGeom prst="ellipse">
            <a:avLst/>
          </a:prstGeom>
          <a:solidFill>
            <a:schemeClr val="accent1"/>
          </a:solidFill>
        </p:spPr>
        <p:txBody>
          <a:bodyPr tIns="0" rIns="0" bIns="0" anchor="ctr">
            <a:noAutofit/>
          </a:bodyPr>
          <a:lstStyle>
            <a:lvl1pPr marL="0" indent="0" algn="ctr">
              <a:buNone/>
              <a:defRPr sz="3600" b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DCDB3D1B-4455-9044-8831-B7D33E6B0701}"/>
              </a:ext>
            </a:extLst>
          </p:cNvPr>
          <p:cNvSpPr>
            <a:spLocks noGrp="1"/>
          </p:cNvSpPr>
          <p:nvPr>
            <p:ph type="body" sz="half" idx="27" hasCustomPrompt="1"/>
          </p:nvPr>
        </p:nvSpPr>
        <p:spPr>
          <a:xfrm>
            <a:off x="5017954" y="1086959"/>
            <a:ext cx="2156092" cy="2165400"/>
          </a:xfrm>
          <a:prstGeom prst="ellipse">
            <a:avLst/>
          </a:prstGeom>
          <a:solidFill>
            <a:schemeClr val="accent1"/>
          </a:solidFill>
        </p:spPr>
        <p:txBody>
          <a:bodyPr tIns="0" rIns="0" bIns="0" anchor="ctr">
            <a:normAutofit/>
          </a:bodyPr>
          <a:lstStyle>
            <a:lvl1pPr marL="0" indent="0" algn="ctr">
              <a:buNone/>
              <a:defRPr sz="3600" b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AEE89895-2AA6-7F49-B056-31F563A1A471}"/>
              </a:ext>
            </a:extLst>
          </p:cNvPr>
          <p:cNvSpPr>
            <a:spLocks noGrp="1"/>
          </p:cNvSpPr>
          <p:nvPr>
            <p:ph type="body" sz="half" idx="28" hasCustomPrompt="1"/>
          </p:nvPr>
        </p:nvSpPr>
        <p:spPr>
          <a:xfrm>
            <a:off x="9071958" y="1086959"/>
            <a:ext cx="2156092" cy="2165400"/>
          </a:xfrm>
          <a:prstGeom prst="ellipse">
            <a:avLst/>
          </a:prstGeom>
          <a:solidFill>
            <a:schemeClr val="accent1"/>
          </a:solidFill>
        </p:spPr>
        <p:txBody>
          <a:bodyPr tIns="0" rIns="0" bIns="0" anchor="ctr">
            <a:noAutofit/>
          </a:bodyPr>
          <a:lstStyle>
            <a:lvl1pPr marL="0" indent="0" algn="ctr">
              <a:buNone/>
              <a:defRPr sz="3600" b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1D021DC-2181-E442-9F59-EA7E0380951C}"/>
              </a:ext>
            </a:extLst>
          </p:cNvPr>
          <p:cNvCxnSpPr>
            <a:cxnSpLocks/>
          </p:cNvCxnSpPr>
          <p:nvPr userDrawn="1"/>
        </p:nvCxnSpPr>
        <p:spPr>
          <a:xfrm>
            <a:off x="838199" y="6288108"/>
            <a:ext cx="10515599" cy="0"/>
          </a:xfrm>
          <a:prstGeom prst="line">
            <a:avLst/>
          </a:prstGeom>
          <a:ln w="19050">
            <a:solidFill>
              <a:srgbClr val="1919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2DDFAF01-16A4-1F43-BDC0-AEFA0C6BFFA5}"/>
              </a:ext>
            </a:extLst>
          </p:cNvPr>
          <p:cNvSpPr>
            <a:spLocks noGrp="1"/>
          </p:cNvSpPr>
          <p:nvPr>
            <p:ph type="body" idx="32" hasCustomPrompt="1"/>
          </p:nvPr>
        </p:nvSpPr>
        <p:spPr>
          <a:xfrm>
            <a:off x="438360" y="3636279"/>
            <a:ext cx="3207275" cy="499239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306B60F7-C2C7-D14C-96A1-C62E6CC68666}"/>
              </a:ext>
            </a:extLst>
          </p:cNvPr>
          <p:cNvSpPr>
            <a:spLocks noGrp="1"/>
          </p:cNvSpPr>
          <p:nvPr>
            <p:ph type="body" idx="33" hasCustomPrompt="1"/>
          </p:nvPr>
        </p:nvSpPr>
        <p:spPr>
          <a:xfrm>
            <a:off x="4477020" y="3636193"/>
            <a:ext cx="3207275" cy="499239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39107726-2EA4-8B41-BA1B-DD087F4BDCBF}"/>
              </a:ext>
            </a:extLst>
          </p:cNvPr>
          <p:cNvSpPr>
            <a:spLocks noGrp="1"/>
          </p:cNvSpPr>
          <p:nvPr>
            <p:ph type="body" idx="34" hasCustomPrompt="1"/>
          </p:nvPr>
        </p:nvSpPr>
        <p:spPr>
          <a:xfrm>
            <a:off x="8537473" y="3636193"/>
            <a:ext cx="3207275" cy="499239"/>
          </a:xfrm>
        </p:spPr>
        <p:txBody>
          <a:bodyPr anchor="ctr">
            <a:noAutofit/>
          </a:bodyPr>
          <a:lstStyle>
            <a:lvl1pPr marL="0" indent="0" algn="ctr">
              <a:buNone/>
              <a:defRPr sz="18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3" name="Footer Placeholder 4">
            <a:extLst>
              <a:ext uri="{FF2B5EF4-FFF2-40B4-BE49-F238E27FC236}">
                <a16:creationId xmlns:a16="http://schemas.microsoft.com/office/drawing/2014/main" id="{579C2B1E-A551-4241-B35A-7D7BD17DE2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226219"/>
            <a:ext cx="5775960" cy="365125"/>
          </a:xfrm>
        </p:spPr>
        <p:txBody>
          <a:bodyPr lIns="0"/>
          <a:lstStyle>
            <a:lvl1pPr>
              <a:defRPr>
                <a:solidFill>
                  <a:srgbClr val="191919"/>
                </a:solidFill>
              </a:defRPr>
            </a:lvl1pPr>
          </a:lstStyle>
          <a:p>
            <a:endParaRPr lang="en-US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9DB521A9-0D28-4A6A-A75E-96A10DD7FD8C}"/>
              </a:ext>
            </a:extLst>
          </p:cNvPr>
          <p:cNvGrpSpPr/>
          <p:nvPr userDrawn="1"/>
        </p:nvGrpSpPr>
        <p:grpSpPr>
          <a:xfrm>
            <a:off x="5965074" y="6408183"/>
            <a:ext cx="261852" cy="261455"/>
            <a:chOff x="1830159" y="2890771"/>
            <a:chExt cx="588560" cy="587668"/>
          </a:xfrm>
          <a:solidFill>
            <a:schemeClr val="tx2"/>
          </a:solidFill>
        </p:grpSpPr>
        <p:sp>
          <p:nvSpPr>
            <p:cNvPr id="35" name="Rectangle 15">
              <a:extLst>
                <a:ext uri="{FF2B5EF4-FFF2-40B4-BE49-F238E27FC236}">
                  <a16:creationId xmlns:a16="http://schemas.microsoft.com/office/drawing/2014/main" id="{B7A63E71-5D05-47BD-9E4C-82C3EBF3CBDB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Rectangle 15">
              <a:extLst>
                <a:ext uri="{FF2B5EF4-FFF2-40B4-BE49-F238E27FC236}">
                  <a16:creationId xmlns:a16="http://schemas.microsoft.com/office/drawing/2014/main" id="{EC87424B-D0E5-436D-A603-94B833F0168D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85954756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 Content 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6D2E09D-92A6-46B2-89A0-D2E1E18EB0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4546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6D2E09D-92A6-46B2-89A0-D2E1E18EB0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hteck 22">
            <a:extLst>
              <a:ext uri="{FF2B5EF4-FFF2-40B4-BE49-F238E27FC236}">
                <a16:creationId xmlns:a16="http://schemas.microsoft.com/office/drawing/2014/main" id="{E424A323-C662-4347-B029-C854D2426BDD}"/>
              </a:ext>
            </a:extLst>
          </p:cNvPr>
          <p:cNvSpPr/>
          <p:nvPr userDrawn="1"/>
        </p:nvSpPr>
        <p:spPr>
          <a:xfrm>
            <a:off x="-8030" y="-18000"/>
            <a:ext cx="4076031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>
              <a:latin typeface="+mj-lt"/>
            </a:endParaRPr>
          </a:p>
        </p:txBody>
      </p:sp>
      <p:pic>
        <p:nvPicPr>
          <p:cNvPr id="33" name="Picture 32" descr="Background pattern&#10;&#10;Description automatically generated">
            <a:extLst>
              <a:ext uri="{FF2B5EF4-FFF2-40B4-BE49-F238E27FC236}">
                <a16:creationId xmlns:a16="http://schemas.microsoft.com/office/drawing/2014/main" id="{F9E4A5BA-507F-4B1F-8E10-EFBF28FC9F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alphaModFix amt="10000"/>
          </a:blip>
          <a:srcRect l="17310" t="10249" r="17711" b="21072"/>
          <a:stretch/>
        </p:blipFill>
        <p:spPr>
          <a:xfrm rot="5400000">
            <a:off x="-1416137" y="1376555"/>
            <a:ext cx="6878692" cy="4089581"/>
          </a:xfrm>
          <a:prstGeom prst="rect">
            <a:avLst/>
          </a:prstGeom>
        </p:spPr>
      </p:pic>
      <p:sp>
        <p:nvSpPr>
          <p:cNvPr id="36" name="Rechteck 22">
            <a:extLst>
              <a:ext uri="{FF2B5EF4-FFF2-40B4-BE49-F238E27FC236}">
                <a16:creationId xmlns:a16="http://schemas.microsoft.com/office/drawing/2014/main" id="{4E50182D-D793-BE4F-A1B6-4F54C068315D}"/>
              </a:ext>
            </a:extLst>
          </p:cNvPr>
          <p:cNvSpPr/>
          <p:nvPr userDrawn="1"/>
        </p:nvSpPr>
        <p:spPr>
          <a:xfrm>
            <a:off x="8124000" y="-18000"/>
            <a:ext cx="4068000" cy="6876000"/>
          </a:xfrm>
          <a:prstGeom prst="rect">
            <a:avLst/>
          </a:prstGeom>
          <a:solidFill>
            <a:srgbClr val="0D64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latin typeface="+mj-lt"/>
            </a:endParaRPr>
          </a:p>
        </p:txBody>
      </p:sp>
      <p:pic>
        <p:nvPicPr>
          <p:cNvPr id="29" name="Picture 28" descr="Background pattern&#10;&#10;Description automatically generated">
            <a:extLst>
              <a:ext uri="{FF2B5EF4-FFF2-40B4-BE49-F238E27FC236}">
                <a16:creationId xmlns:a16="http://schemas.microsoft.com/office/drawing/2014/main" id="{98859201-74C5-4317-8B8B-616134480D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alphaModFix amt="10000"/>
          </a:blip>
          <a:srcRect l="34991" r="30" b="31841"/>
          <a:stretch/>
        </p:blipFill>
        <p:spPr>
          <a:xfrm rot="16200000">
            <a:off x="6723345" y="1413207"/>
            <a:ext cx="6878692" cy="4058623"/>
          </a:xfrm>
          <a:prstGeom prst="rect">
            <a:avLst/>
          </a:prstGeom>
        </p:spPr>
      </p:pic>
      <p:sp>
        <p:nvSpPr>
          <p:cNvPr id="34" name="Rechteck 22">
            <a:extLst>
              <a:ext uri="{FF2B5EF4-FFF2-40B4-BE49-F238E27FC236}">
                <a16:creationId xmlns:a16="http://schemas.microsoft.com/office/drawing/2014/main" id="{DBF0FFDD-A8E1-E64F-8D92-D869C6D7A2F7}"/>
              </a:ext>
            </a:extLst>
          </p:cNvPr>
          <p:cNvSpPr/>
          <p:nvPr userDrawn="1"/>
        </p:nvSpPr>
        <p:spPr>
          <a:xfrm>
            <a:off x="4057347" y="-18000"/>
            <a:ext cx="4068000" cy="6876000"/>
          </a:xfrm>
          <a:prstGeom prst="rect">
            <a:avLst/>
          </a:prstGeom>
          <a:solidFill>
            <a:srgbClr val="0023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>
              <a:latin typeface="+mj-lt"/>
            </a:endParaRPr>
          </a:p>
        </p:txBody>
      </p:sp>
      <p:pic>
        <p:nvPicPr>
          <p:cNvPr id="30" name="Picture 29" descr="Background pattern&#10;&#10;Description automatically generated">
            <a:extLst>
              <a:ext uri="{FF2B5EF4-FFF2-40B4-BE49-F238E27FC236}">
                <a16:creationId xmlns:a16="http://schemas.microsoft.com/office/drawing/2014/main" id="{8EACEE81-400E-4C08-9538-6DB1D5D8E6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alphaModFix amt="10000"/>
          </a:blip>
          <a:srcRect l="34821" t="-167" r="200" b="167"/>
          <a:stretch/>
        </p:blipFill>
        <p:spPr>
          <a:xfrm rot="16200000">
            <a:off x="2657966" y="1413207"/>
            <a:ext cx="6878692" cy="4058623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1DDD94-83AE-854D-AA85-D405490CA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868D98-9614-6F4D-9879-BC271C28C5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226219"/>
            <a:ext cx="5035826" cy="365125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6A226-FB73-094F-8B9B-9EE2B6DCCC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9EB6713A-BB0E-2149-B39F-9A13A75C4A5E}"/>
              </a:ext>
            </a:extLst>
          </p:cNvPr>
          <p:cNvSpPr/>
          <p:nvPr userDrawn="1"/>
        </p:nvSpPr>
        <p:spPr>
          <a:xfrm>
            <a:off x="1054062" y="1054257"/>
            <a:ext cx="1959876" cy="1959876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D6D5BCC5-8DE4-3C45-9C96-76B15B63F9B7}"/>
              </a:ext>
            </a:extLst>
          </p:cNvPr>
          <p:cNvSpPr/>
          <p:nvPr userDrawn="1"/>
        </p:nvSpPr>
        <p:spPr>
          <a:xfrm>
            <a:off x="5100717" y="1054257"/>
            <a:ext cx="1959876" cy="1959876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EBFAD67F-E67F-4145-B506-97D2D111ABF8}"/>
              </a:ext>
            </a:extLst>
          </p:cNvPr>
          <p:cNvSpPr/>
          <p:nvPr userDrawn="1"/>
        </p:nvSpPr>
        <p:spPr>
          <a:xfrm>
            <a:off x="9178062" y="1054257"/>
            <a:ext cx="1959876" cy="1959876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8850A48E-214A-ED47-A94B-626C2719717F}"/>
              </a:ext>
            </a:extLst>
          </p:cNvPr>
          <p:cNvSpPr>
            <a:spLocks noGrp="1"/>
          </p:cNvSpPr>
          <p:nvPr>
            <p:ph type="body" sz="half" idx="26" hasCustomPrompt="1"/>
          </p:nvPr>
        </p:nvSpPr>
        <p:spPr>
          <a:xfrm>
            <a:off x="1190521" y="1187075"/>
            <a:ext cx="1686958" cy="1694241"/>
          </a:xfrm>
          <a:prstGeom prst="ellipse">
            <a:avLst/>
          </a:prstGeom>
          <a:solidFill>
            <a:schemeClr val="bg1"/>
          </a:solidFill>
        </p:spPr>
        <p:txBody>
          <a:bodyPr tIns="0" rIns="0" bIns="0" anchor="ctr">
            <a:noAutofit/>
          </a:bodyPr>
          <a:lstStyle>
            <a:lvl1pPr marL="0" indent="0" algn="ctr">
              <a:buNone/>
              <a:defRPr sz="2800" b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C5C9CF31-049D-F046-A000-CE79DBAB2239}"/>
              </a:ext>
            </a:extLst>
          </p:cNvPr>
          <p:cNvSpPr>
            <a:spLocks noGrp="1"/>
          </p:cNvSpPr>
          <p:nvPr>
            <p:ph type="body" sz="half" idx="27" hasCustomPrompt="1"/>
          </p:nvPr>
        </p:nvSpPr>
        <p:spPr>
          <a:xfrm>
            <a:off x="5255898" y="1187075"/>
            <a:ext cx="1686958" cy="1694241"/>
          </a:xfrm>
          <a:prstGeom prst="ellipse">
            <a:avLst/>
          </a:prstGeom>
          <a:solidFill>
            <a:schemeClr val="bg1"/>
          </a:solidFill>
        </p:spPr>
        <p:txBody>
          <a:bodyPr tIns="0" rIns="0" bIns="0" anchor="ctr">
            <a:noAutofit/>
          </a:bodyPr>
          <a:lstStyle>
            <a:lvl1pPr marL="0" indent="0" algn="ctr">
              <a:buNone/>
              <a:defRPr sz="2800" b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D5E757AF-EC3A-CF46-BC66-2553CE78FD85}"/>
              </a:ext>
            </a:extLst>
          </p:cNvPr>
          <p:cNvSpPr>
            <a:spLocks noGrp="1"/>
          </p:cNvSpPr>
          <p:nvPr>
            <p:ph type="body" sz="half" idx="28" hasCustomPrompt="1"/>
          </p:nvPr>
        </p:nvSpPr>
        <p:spPr>
          <a:xfrm>
            <a:off x="9315194" y="1187075"/>
            <a:ext cx="1686958" cy="1694241"/>
          </a:xfrm>
          <a:prstGeom prst="ellipse">
            <a:avLst/>
          </a:prstGeom>
          <a:solidFill>
            <a:schemeClr val="bg1"/>
          </a:solidFill>
        </p:spPr>
        <p:txBody>
          <a:bodyPr tIns="0" rIns="0" bIns="0" anchor="ctr">
            <a:noAutofit/>
          </a:bodyPr>
          <a:lstStyle>
            <a:lvl1pPr marL="0" indent="0" algn="ctr">
              <a:buNone/>
              <a:defRPr sz="2800" b="0">
                <a:solidFill>
                  <a:schemeClr val="accent3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D3152CE-328E-A242-9033-8F5B815DC3D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29050" y="3469543"/>
            <a:ext cx="3207275" cy="499239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800" b="1" cap="all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F348CCBD-39CE-B74E-BD90-4D92DADCF7F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4477017" y="3469543"/>
            <a:ext cx="3207275" cy="499239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51CDFD09-65BA-554E-9490-C96C6C750F71}"/>
              </a:ext>
            </a:extLst>
          </p:cNvPr>
          <p:cNvSpPr>
            <a:spLocks noGrp="1"/>
          </p:cNvSpPr>
          <p:nvPr>
            <p:ph type="body" idx="30" hasCustomPrompt="1"/>
          </p:nvPr>
        </p:nvSpPr>
        <p:spPr>
          <a:xfrm>
            <a:off x="8533016" y="3469543"/>
            <a:ext cx="3207275" cy="499239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6EE9187-402F-454B-B526-34D329B43DD9}"/>
              </a:ext>
            </a:extLst>
          </p:cNvPr>
          <p:cNvGrpSpPr/>
          <p:nvPr userDrawn="1"/>
        </p:nvGrpSpPr>
        <p:grpSpPr>
          <a:xfrm>
            <a:off x="5965074" y="6408183"/>
            <a:ext cx="261852" cy="261455"/>
            <a:chOff x="1830159" y="2890771"/>
            <a:chExt cx="588560" cy="587668"/>
          </a:xfrm>
          <a:solidFill>
            <a:schemeClr val="bg1"/>
          </a:solidFill>
        </p:grpSpPr>
        <p:sp>
          <p:nvSpPr>
            <p:cNvPr id="24" name="Rectangle 15">
              <a:extLst>
                <a:ext uri="{FF2B5EF4-FFF2-40B4-BE49-F238E27FC236}">
                  <a16:creationId xmlns:a16="http://schemas.microsoft.com/office/drawing/2014/main" id="{C54EE56E-ACD6-4617-8229-A083C3EF542F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tangle 15">
              <a:extLst>
                <a:ext uri="{FF2B5EF4-FFF2-40B4-BE49-F238E27FC236}">
                  <a16:creationId xmlns:a16="http://schemas.microsoft.com/office/drawing/2014/main" id="{E55803C4-EAEB-4C64-A076-AA74C897C3A7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8CA933DF-CBDB-41A3-ADFA-BD39888B757B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428625" y="4037013"/>
            <a:ext cx="3207700" cy="1766887"/>
          </a:xfrm>
        </p:spPr>
        <p:txBody>
          <a:bodyPr/>
          <a:lstStyle>
            <a:lvl1pPr marL="182880" indent="-18288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1pPr>
            <a:lvl2pPr marL="685800" indent="-228600">
              <a:buFontTx/>
              <a:buBlip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 or conten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1" name="Content Placeholder 8">
            <a:extLst>
              <a:ext uri="{FF2B5EF4-FFF2-40B4-BE49-F238E27FC236}">
                <a16:creationId xmlns:a16="http://schemas.microsoft.com/office/drawing/2014/main" id="{DCB7D6B5-BDFE-4A95-BCED-7DD97CEE4E2F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4476750" y="4037013"/>
            <a:ext cx="3207700" cy="1766887"/>
          </a:xfrm>
        </p:spPr>
        <p:txBody>
          <a:bodyPr/>
          <a:lstStyle>
            <a:lvl1pPr marL="182880" indent="-18288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1pPr>
            <a:lvl2pPr marL="685800" indent="-228600">
              <a:buFontTx/>
              <a:buBlip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 or conten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2" name="Content Placeholder 8">
            <a:extLst>
              <a:ext uri="{FF2B5EF4-FFF2-40B4-BE49-F238E27FC236}">
                <a16:creationId xmlns:a16="http://schemas.microsoft.com/office/drawing/2014/main" id="{86D7ADCB-B2DD-4A21-A076-19A86C8ADD23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8524875" y="4037013"/>
            <a:ext cx="3207700" cy="1766887"/>
          </a:xfrm>
        </p:spPr>
        <p:txBody>
          <a:bodyPr/>
          <a:lstStyle>
            <a:lvl1pPr marL="182880" indent="-18288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1pPr>
            <a:lvl2pPr marL="685800" indent="-228600">
              <a:buFontTx/>
              <a:buBlip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 or content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119448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 Content I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>
            <a:extLst>
              <a:ext uri="{FF2B5EF4-FFF2-40B4-BE49-F238E27FC236}">
                <a16:creationId xmlns:a16="http://schemas.microsoft.com/office/drawing/2014/main" id="{E64622CF-1AA9-4319-B5FE-D1EAD7E409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470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32" name="Object 31" hidden="1">
                        <a:extLst>
                          <a:ext uri="{FF2B5EF4-FFF2-40B4-BE49-F238E27FC236}">
                            <a16:creationId xmlns:a16="http://schemas.microsoft.com/office/drawing/2014/main" id="{E64622CF-1AA9-4319-B5FE-D1EAD7E409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93EF70-CB2C-49FA-926E-FC955A503F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2ABC97B-0099-4EEE-A043-C9D3C96D64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68AD31-AE6B-49D5-A16B-8D2AE641C4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1067136-82F3-4DDA-8C36-DC7B0201ADEA}"/>
              </a:ext>
            </a:extLst>
          </p:cNvPr>
          <p:cNvSpPr/>
          <p:nvPr userDrawn="1"/>
        </p:nvSpPr>
        <p:spPr>
          <a:xfrm>
            <a:off x="838198" y="1297714"/>
            <a:ext cx="10515600" cy="924945"/>
          </a:xfrm>
          <a:prstGeom prst="rect">
            <a:avLst/>
          </a:prstGeom>
          <a:noFill/>
          <a:ln w="1270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CED8994-7F0E-4AD6-ADC2-47FE5D66010A}"/>
              </a:ext>
            </a:extLst>
          </p:cNvPr>
          <p:cNvSpPr/>
          <p:nvPr userDrawn="1"/>
        </p:nvSpPr>
        <p:spPr>
          <a:xfrm>
            <a:off x="838198" y="2312210"/>
            <a:ext cx="10515600" cy="924945"/>
          </a:xfrm>
          <a:prstGeom prst="rect">
            <a:avLst/>
          </a:prstGeom>
          <a:noFill/>
          <a:ln w="1270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AFFCE2E-3FDD-4A3C-A804-A425553507F3}"/>
              </a:ext>
            </a:extLst>
          </p:cNvPr>
          <p:cNvSpPr/>
          <p:nvPr userDrawn="1"/>
        </p:nvSpPr>
        <p:spPr>
          <a:xfrm>
            <a:off x="838198" y="3326706"/>
            <a:ext cx="10515600" cy="924945"/>
          </a:xfrm>
          <a:prstGeom prst="rect">
            <a:avLst/>
          </a:prstGeom>
          <a:noFill/>
          <a:ln w="1270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0116EEF-AEFC-47F6-9E8C-2ADBD7E658C6}"/>
              </a:ext>
            </a:extLst>
          </p:cNvPr>
          <p:cNvSpPr/>
          <p:nvPr userDrawn="1"/>
        </p:nvSpPr>
        <p:spPr>
          <a:xfrm>
            <a:off x="838200" y="4331026"/>
            <a:ext cx="10515600" cy="924945"/>
          </a:xfrm>
          <a:prstGeom prst="rect">
            <a:avLst/>
          </a:prstGeom>
          <a:noFill/>
          <a:ln w="1270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22DF9EA-7B26-46AC-B26D-3FEFDD4C555E}"/>
              </a:ext>
            </a:extLst>
          </p:cNvPr>
          <p:cNvSpPr/>
          <p:nvPr userDrawn="1"/>
        </p:nvSpPr>
        <p:spPr>
          <a:xfrm>
            <a:off x="838198" y="5345522"/>
            <a:ext cx="10515600" cy="924945"/>
          </a:xfrm>
          <a:prstGeom prst="rect">
            <a:avLst/>
          </a:prstGeom>
          <a:noFill/>
          <a:ln w="1270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863BBA39-558A-4B12-96A6-9C6154295AE3}"/>
              </a:ext>
            </a:extLst>
          </p:cNvPr>
          <p:cNvSpPr>
            <a:spLocks noGrp="1"/>
          </p:cNvSpPr>
          <p:nvPr>
            <p:ph type="body" sz="half" idx="19" hasCustomPrompt="1"/>
          </p:nvPr>
        </p:nvSpPr>
        <p:spPr>
          <a:xfrm>
            <a:off x="1851452" y="1389559"/>
            <a:ext cx="9337248" cy="799814"/>
          </a:xfrm>
        </p:spPr>
        <p:txBody>
          <a:bodyPr anchor="ctr">
            <a:norm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bg2">
                    <a:lumMod val="10000"/>
                  </a:schemeClr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4C368C17-86CF-4D22-95FA-7E3775CFCD19}"/>
              </a:ext>
            </a:extLst>
          </p:cNvPr>
          <p:cNvSpPr>
            <a:spLocks noGrp="1"/>
          </p:cNvSpPr>
          <p:nvPr>
            <p:ph type="body" sz="half" idx="20" hasCustomPrompt="1"/>
          </p:nvPr>
        </p:nvSpPr>
        <p:spPr>
          <a:xfrm>
            <a:off x="1851452" y="2407093"/>
            <a:ext cx="9337248" cy="799814"/>
          </a:xfrm>
        </p:spPr>
        <p:txBody>
          <a:bodyPr anchor="ctr">
            <a:norm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bg2">
                    <a:lumMod val="10000"/>
                  </a:schemeClr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126547A-D270-449D-99AB-CA1E7978583B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1851452" y="3429000"/>
            <a:ext cx="9337248" cy="799814"/>
          </a:xfrm>
        </p:spPr>
        <p:txBody>
          <a:bodyPr anchor="ctr">
            <a:norm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bg2">
                    <a:lumMod val="10000"/>
                  </a:schemeClr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1AD1EEC5-3E4B-4C67-A738-22E4D062B0C7}"/>
              </a:ext>
            </a:extLst>
          </p:cNvPr>
          <p:cNvSpPr>
            <a:spLocks noGrp="1"/>
          </p:cNvSpPr>
          <p:nvPr>
            <p:ph type="body" sz="half" idx="22" hasCustomPrompt="1"/>
          </p:nvPr>
        </p:nvSpPr>
        <p:spPr>
          <a:xfrm>
            <a:off x="1847174" y="4430757"/>
            <a:ext cx="9337248" cy="799814"/>
          </a:xfrm>
        </p:spPr>
        <p:txBody>
          <a:bodyPr anchor="ctr">
            <a:norm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bg2">
                    <a:lumMod val="10000"/>
                  </a:schemeClr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F6D9D1AC-3DAA-4BE6-BC74-49C36A833D52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1847172" y="5464960"/>
            <a:ext cx="9337248" cy="799814"/>
          </a:xfrm>
        </p:spPr>
        <p:txBody>
          <a:bodyPr anchor="ctr">
            <a:norm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bg2">
                    <a:lumMod val="10000"/>
                  </a:schemeClr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3048DA33-A0C2-49B7-B812-4F96F0FD4F0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 lIns="0"/>
          <a:lstStyle>
            <a:lvl1pPr>
              <a:defRPr cap="all" baseline="0"/>
            </a:lvl1pPr>
          </a:lstStyle>
          <a:p>
            <a:r>
              <a:rPr lang="en-US"/>
              <a:t>Company Confidential – Do Not Distribute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4DB6CEAA-5986-46F8-95D1-B312B00E8B51}"/>
              </a:ext>
            </a:extLst>
          </p:cNvPr>
          <p:cNvGrpSpPr/>
          <p:nvPr userDrawn="1"/>
        </p:nvGrpSpPr>
        <p:grpSpPr>
          <a:xfrm>
            <a:off x="5965074" y="6408183"/>
            <a:ext cx="261852" cy="261455"/>
            <a:chOff x="1830159" y="2890771"/>
            <a:chExt cx="588560" cy="587668"/>
          </a:xfrm>
          <a:solidFill>
            <a:schemeClr val="tx2"/>
          </a:solidFill>
        </p:grpSpPr>
        <p:sp>
          <p:nvSpPr>
            <p:cNvPr id="24" name="Rectangle 15">
              <a:extLst>
                <a:ext uri="{FF2B5EF4-FFF2-40B4-BE49-F238E27FC236}">
                  <a16:creationId xmlns:a16="http://schemas.microsoft.com/office/drawing/2014/main" id="{6A85C6FC-8668-488D-9C0F-5D26F0C21AA2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15">
              <a:extLst>
                <a:ext uri="{FF2B5EF4-FFF2-40B4-BE49-F238E27FC236}">
                  <a16:creationId xmlns:a16="http://schemas.microsoft.com/office/drawing/2014/main" id="{A54DFB03-D5BB-4B65-A550-6F491CAD5765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6" name="Graphic 25">
            <a:extLst>
              <a:ext uri="{FF2B5EF4-FFF2-40B4-BE49-F238E27FC236}">
                <a16:creationId xmlns:a16="http://schemas.microsoft.com/office/drawing/2014/main" id="{E2A03239-E0C3-40F1-87E6-07D9EAE6ABF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9567" y="1547851"/>
            <a:ext cx="390517" cy="445522"/>
          </a:xfrm>
          <a:prstGeom prst="rect">
            <a:avLst/>
          </a:prstGeom>
        </p:spPr>
      </p:pic>
      <p:pic>
        <p:nvPicPr>
          <p:cNvPr id="27" name="Graphic 26">
            <a:extLst>
              <a:ext uri="{FF2B5EF4-FFF2-40B4-BE49-F238E27FC236}">
                <a16:creationId xmlns:a16="http://schemas.microsoft.com/office/drawing/2014/main" id="{A97C8B41-1D23-45B0-96A9-2BFDA4E910B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9567" y="2565385"/>
            <a:ext cx="390517" cy="445522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B348EDC2-22C9-4E7D-BE50-1849BCD3D93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9567" y="3587292"/>
            <a:ext cx="390517" cy="445522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1858D932-6B1B-480E-B24C-080C8C43C41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9567" y="4589049"/>
            <a:ext cx="390517" cy="445522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9C1F37BD-B2E1-4AA7-B7CE-1C5E1431065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9567" y="5623252"/>
            <a:ext cx="390517" cy="445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603687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 Content J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1DDD94-83AE-854D-AA85-D405490CA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/>
          <a:lstStyle>
            <a:lvl1pPr>
              <a:defRPr cap="all" baseline="0"/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868D98-9614-6F4D-9879-BC271C28C5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226219"/>
            <a:ext cx="10515600" cy="365125"/>
          </a:xfrm>
        </p:spPr>
        <p:txBody>
          <a:bodyPr lIns="0"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6A226-FB73-094F-8B9B-9EE2B6DCCC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/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47F8F44-3769-D14D-A757-EA2727F4AA3E}"/>
              </a:ext>
            </a:extLst>
          </p:cNvPr>
          <p:cNvSpPr/>
          <p:nvPr userDrawn="1"/>
        </p:nvSpPr>
        <p:spPr>
          <a:xfrm>
            <a:off x="838200" y="1811708"/>
            <a:ext cx="2469254" cy="3953851"/>
          </a:xfrm>
          <a:prstGeom prst="rect">
            <a:avLst/>
          </a:prstGeom>
          <a:noFill/>
          <a:ln w="19050">
            <a:solidFill>
              <a:srgbClr val="19191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464C9B6-B5E2-FB4F-8B63-D7144458B19E}"/>
              </a:ext>
            </a:extLst>
          </p:cNvPr>
          <p:cNvSpPr/>
          <p:nvPr userDrawn="1"/>
        </p:nvSpPr>
        <p:spPr>
          <a:xfrm>
            <a:off x="6188250" y="1811708"/>
            <a:ext cx="2469254" cy="3953851"/>
          </a:xfrm>
          <a:prstGeom prst="rect">
            <a:avLst/>
          </a:prstGeom>
          <a:noFill/>
          <a:ln w="19050">
            <a:solidFill>
              <a:srgbClr val="19191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4C77D9E-C9D2-8B4E-A88F-C33C414DD3A3}"/>
              </a:ext>
            </a:extLst>
          </p:cNvPr>
          <p:cNvSpPr/>
          <p:nvPr userDrawn="1"/>
        </p:nvSpPr>
        <p:spPr>
          <a:xfrm>
            <a:off x="3491953" y="1811708"/>
            <a:ext cx="2469254" cy="3953851"/>
          </a:xfrm>
          <a:prstGeom prst="rect">
            <a:avLst/>
          </a:prstGeom>
          <a:noFill/>
          <a:ln w="19050">
            <a:solidFill>
              <a:srgbClr val="19191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3061750-5330-1E40-A6DB-6A2EC70A5C02}"/>
              </a:ext>
            </a:extLst>
          </p:cNvPr>
          <p:cNvSpPr/>
          <p:nvPr userDrawn="1"/>
        </p:nvSpPr>
        <p:spPr>
          <a:xfrm>
            <a:off x="8884546" y="1811708"/>
            <a:ext cx="2469254" cy="3953851"/>
          </a:xfrm>
          <a:prstGeom prst="rect">
            <a:avLst/>
          </a:prstGeom>
          <a:noFill/>
          <a:ln w="19050">
            <a:solidFill>
              <a:srgbClr val="19191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C923BED9-25B5-2747-8A7E-2FABE520729C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041343" y="2991026"/>
            <a:ext cx="2043689" cy="2562865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bg2">
                    <a:lumMod val="10000"/>
                  </a:schemeClr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82E4E6BB-C42B-6E4E-9E75-D838645EE919}"/>
              </a:ext>
            </a:extLst>
          </p:cNvPr>
          <p:cNvSpPr>
            <a:spLocks noGrp="1"/>
          </p:cNvSpPr>
          <p:nvPr>
            <p:ph type="body" sz="half" idx="13" hasCustomPrompt="1"/>
          </p:nvPr>
        </p:nvSpPr>
        <p:spPr>
          <a:xfrm>
            <a:off x="3704734" y="2991025"/>
            <a:ext cx="2043689" cy="2562865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bg2">
                    <a:lumMod val="10000"/>
                  </a:schemeClr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E5AECFF0-8E92-5548-8EB1-DB587751250E}"/>
              </a:ext>
            </a:extLst>
          </p:cNvPr>
          <p:cNvSpPr>
            <a:spLocks noGrp="1"/>
          </p:cNvSpPr>
          <p:nvPr>
            <p:ph type="body" sz="half" idx="14" hasCustomPrompt="1"/>
          </p:nvPr>
        </p:nvSpPr>
        <p:spPr>
          <a:xfrm>
            <a:off x="6401032" y="2991025"/>
            <a:ext cx="2043689" cy="2562865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bg2">
                    <a:lumMod val="10000"/>
                  </a:schemeClr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9C4E7E69-1654-354F-82D9-A65258412E4E}"/>
              </a:ext>
            </a:extLst>
          </p:cNvPr>
          <p:cNvSpPr>
            <a:spLocks noGrp="1"/>
          </p:cNvSpPr>
          <p:nvPr>
            <p:ph type="body" sz="half" idx="15" hasCustomPrompt="1"/>
          </p:nvPr>
        </p:nvSpPr>
        <p:spPr>
          <a:xfrm>
            <a:off x="9098838" y="2991024"/>
            <a:ext cx="2043689" cy="2562865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bg2">
                    <a:lumMod val="10000"/>
                  </a:schemeClr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7918957C-D992-B14E-B3CF-DF79DE5FD83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041343" y="2038860"/>
            <a:ext cx="2043689" cy="499239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 cap="all" baseline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E07B3771-1E63-D441-8D31-4EF4C5FCE80A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3704733" y="2038859"/>
            <a:ext cx="2043689" cy="499239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 cap="all" baseline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CB6B6EF3-C98C-2045-9257-6C4632BDF532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6401031" y="2038858"/>
            <a:ext cx="2043689" cy="499239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 cap="all" baseline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3420E4C0-0E00-8641-A6B6-8CE9E411F5CC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9098838" y="2038858"/>
            <a:ext cx="2043689" cy="499239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 cap="all" baseline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BF1E311A-2BB1-BA48-A022-E65EDC95383F}"/>
              </a:ext>
            </a:extLst>
          </p:cNvPr>
          <p:cNvCxnSpPr>
            <a:cxnSpLocks/>
          </p:cNvCxnSpPr>
          <p:nvPr userDrawn="1"/>
        </p:nvCxnSpPr>
        <p:spPr>
          <a:xfrm>
            <a:off x="838199" y="6288108"/>
            <a:ext cx="10515599" cy="0"/>
          </a:xfrm>
          <a:prstGeom prst="line">
            <a:avLst/>
          </a:prstGeom>
          <a:ln w="19050">
            <a:solidFill>
              <a:srgbClr val="1919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3" name="Group 32">
            <a:extLst>
              <a:ext uri="{FF2B5EF4-FFF2-40B4-BE49-F238E27FC236}">
                <a16:creationId xmlns:a16="http://schemas.microsoft.com/office/drawing/2014/main" id="{A384E1A8-1AD6-1A4A-AA19-8D6DD4306958}"/>
              </a:ext>
            </a:extLst>
          </p:cNvPr>
          <p:cNvGrpSpPr/>
          <p:nvPr userDrawn="1"/>
        </p:nvGrpSpPr>
        <p:grpSpPr>
          <a:xfrm>
            <a:off x="5965074" y="6408183"/>
            <a:ext cx="261852" cy="261455"/>
            <a:chOff x="1830159" y="2890771"/>
            <a:chExt cx="588560" cy="587668"/>
          </a:xfrm>
          <a:solidFill>
            <a:srgbClr val="191919"/>
          </a:solidFill>
        </p:grpSpPr>
        <p:sp>
          <p:nvSpPr>
            <p:cNvPr id="34" name="Rectangle 15">
              <a:extLst>
                <a:ext uri="{FF2B5EF4-FFF2-40B4-BE49-F238E27FC236}">
                  <a16:creationId xmlns:a16="http://schemas.microsoft.com/office/drawing/2014/main" id="{3596669E-3C7A-1640-954D-2200328B5133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Rectangle 15">
              <a:extLst>
                <a:ext uri="{FF2B5EF4-FFF2-40B4-BE49-F238E27FC236}">
                  <a16:creationId xmlns:a16="http://schemas.microsoft.com/office/drawing/2014/main" id="{00FE8BE4-8BDE-CD45-BB80-2F95BF73D424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7" name="Title 1">
            <a:extLst>
              <a:ext uri="{FF2B5EF4-FFF2-40B4-BE49-F238E27FC236}">
                <a16:creationId xmlns:a16="http://schemas.microsoft.com/office/drawing/2014/main" id="{79ACE22F-E3DC-4DE8-8800-E006F0FFB2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716898"/>
            <a:ext cx="10515600" cy="583740"/>
          </a:xfrm>
        </p:spPr>
        <p:txBody>
          <a:bodyPr>
            <a:noAutofit/>
          </a:bodyPr>
          <a:lstStyle>
            <a:lvl1pPr algn="ctr">
              <a:defRPr sz="3600" b="0"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  <p:pic>
        <p:nvPicPr>
          <p:cNvPr id="40" name="Graphic 39">
            <a:extLst>
              <a:ext uri="{FF2B5EF4-FFF2-40B4-BE49-F238E27FC236}">
                <a16:creationId xmlns:a16="http://schemas.microsoft.com/office/drawing/2014/main" id="{1C16C9B6-76BB-4FFC-B114-D2F94984DC4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8900000">
            <a:off x="1965365" y="2739149"/>
            <a:ext cx="195645" cy="195645"/>
          </a:xfrm>
          <a:prstGeom prst="rect">
            <a:avLst/>
          </a:prstGeom>
        </p:spPr>
      </p:pic>
      <p:pic>
        <p:nvPicPr>
          <p:cNvPr id="41" name="Graphic 40">
            <a:extLst>
              <a:ext uri="{FF2B5EF4-FFF2-40B4-BE49-F238E27FC236}">
                <a16:creationId xmlns:a16="http://schemas.microsoft.com/office/drawing/2014/main" id="{E8FA6AA3-2EB4-4E59-99FD-66159F1EB5D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8900000">
            <a:off x="4632365" y="2739150"/>
            <a:ext cx="195645" cy="195645"/>
          </a:xfrm>
          <a:prstGeom prst="rect">
            <a:avLst/>
          </a:prstGeom>
        </p:spPr>
      </p:pic>
      <p:pic>
        <p:nvPicPr>
          <p:cNvPr id="42" name="Graphic 41">
            <a:extLst>
              <a:ext uri="{FF2B5EF4-FFF2-40B4-BE49-F238E27FC236}">
                <a16:creationId xmlns:a16="http://schemas.microsoft.com/office/drawing/2014/main" id="{11342751-0D3B-421B-B35E-AA764F66FC9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8900000">
            <a:off x="7318415" y="2739151"/>
            <a:ext cx="195645" cy="195645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76BFDB32-B277-47FE-9424-528E6024D45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8900000">
            <a:off x="10017166" y="2739152"/>
            <a:ext cx="195645" cy="195645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F342757-76E3-4A7C-873B-174453AC309C}"/>
              </a:ext>
            </a:extLst>
          </p:cNvPr>
          <p:cNvSpPr/>
          <p:nvPr userDrawn="1"/>
        </p:nvSpPr>
        <p:spPr>
          <a:xfrm flipV="1">
            <a:off x="1037663" y="2518504"/>
            <a:ext cx="2049750" cy="2491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45C6B5D8-2BE0-463C-A991-5D7833B7531B}"/>
              </a:ext>
            </a:extLst>
          </p:cNvPr>
          <p:cNvSpPr/>
          <p:nvPr userDrawn="1"/>
        </p:nvSpPr>
        <p:spPr>
          <a:xfrm flipV="1">
            <a:off x="3699901" y="2518504"/>
            <a:ext cx="2049750" cy="2491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03FAC900-76D7-4E13-AC88-325206FA3783}"/>
              </a:ext>
            </a:extLst>
          </p:cNvPr>
          <p:cNvSpPr/>
          <p:nvPr userDrawn="1"/>
        </p:nvSpPr>
        <p:spPr>
          <a:xfrm flipV="1">
            <a:off x="6405001" y="2518504"/>
            <a:ext cx="2049750" cy="2491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7381CA6B-F913-45DE-A0C2-217E5D951A9E}"/>
              </a:ext>
            </a:extLst>
          </p:cNvPr>
          <p:cNvSpPr/>
          <p:nvPr userDrawn="1"/>
        </p:nvSpPr>
        <p:spPr>
          <a:xfrm flipV="1">
            <a:off x="9100576" y="2518504"/>
            <a:ext cx="2049750" cy="2491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539647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 Content K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5B606B9-95F2-41AF-B8EB-D02CC9C413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9131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5B606B9-95F2-41AF-B8EB-D02CC9C413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1DDD94-83AE-854D-AA85-D405490CA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868D98-9614-6F4D-9879-BC271C28C5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226219"/>
            <a:ext cx="10515600" cy="365125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6A226-FB73-094F-8B9B-9EE2B6DCCC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47F8F44-3769-D14D-A757-EA2727F4AA3E}"/>
              </a:ext>
            </a:extLst>
          </p:cNvPr>
          <p:cNvSpPr/>
          <p:nvPr userDrawn="1"/>
        </p:nvSpPr>
        <p:spPr>
          <a:xfrm>
            <a:off x="838200" y="1811708"/>
            <a:ext cx="2469254" cy="3953851"/>
          </a:xfrm>
          <a:prstGeom prst="rect">
            <a:avLst/>
          </a:prstGeom>
          <a:noFill/>
          <a:ln w="1905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464C9B6-B5E2-FB4F-8B63-D7144458B19E}"/>
              </a:ext>
            </a:extLst>
          </p:cNvPr>
          <p:cNvSpPr/>
          <p:nvPr userDrawn="1"/>
        </p:nvSpPr>
        <p:spPr>
          <a:xfrm>
            <a:off x="6188250" y="1811708"/>
            <a:ext cx="2469254" cy="3953851"/>
          </a:xfrm>
          <a:prstGeom prst="rect">
            <a:avLst/>
          </a:prstGeom>
          <a:noFill/>
          <a:ln w="1905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4C77D9E-C9D2-8B4E-A88F-C33C414DD3A3}"/>
              </a:ext>
            </a:extLst>
          </p:cNvPr>
          <p:cNvSpPr/>
          <p:nvPr userDrawn="1"/>
        </p:nvSpPr>
        <p:spPr>
          <a:xfrm>
            <a:off x="3491953" y="1811708"/>
            <a:ext cx="2469254" cy="3953851"/>
          </a:xfrm>
          <a:prstGeom prst="rect">
            <a:avLst/>
          </a:prstGeom>
          <a:noFill/>
          <a:ln w="1905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3061750-5330-1E40-A6DB-6A2EC70A5C02}"/>
              </a:ext>
            </a:extLst>
          </p:cNvPr>
          <p:cNvSpPr/>
          <p:nvPr userDrawn="1"/>
        </p:nvSpPr>
        <p:spPr>
          <a:xfrm>
            <a:off x="8884546" y="1811708"/>
            <a:ext cx="2469254" cy="3953851"/>
          </a:xfrm>
          <a:prstGeom prst="rect">
            <a:avLst/>
          </a:prstGeom>
          <a:noFill/>
          <a:ln w="1905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C923BED9-25B5-2747-8A7E-2FABE520729C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041343" y="2991026"/>
            <a:ext cx="2043689" cy="2562865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82E4E6BB-C42B-6E4E-9E75-D838645EE919}"/>
              </a:ext>
            </a:extLst>
          </p:cNvPr>
          <p:cNvSpPr>
            <a:spLocks noGrp="1"/>
          </p:cNvSpPr>
          <p:nvPr>
            <p:ph type="body" sz="half" idx="13" hasCustomPrompt="1"/>
          </p:nvPr>
        </p:nvSpPr>
        <p:spPr>
          <a:xfrm>
            <a:off x="3704734" y="2991025"/>
            <a:ext cx="2043689" cy="2562865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E5AECFF0-8E92-5548-8EB1-DB587751250E}"/>
              </a:ext>
            </a:extLst>
          </p:cNvPr>
          <p:cNvSpPr>
            <a:spLocks noGrp="1"/>
          </p:cNvSpPr>
          <p:nvPr>
            <p:ph type="body" sz="half" idx="14" hasCustomPrompt="1"/>
          </p:nvPr>
        </p:nvSpPr>
        <p:spPr>
          <a:xfrm>
            <a:off x="6401032" y="2991025"/>
            <a:ext cx="2043689" cy="2562865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9C4E7E69-1654-354F-82D9-A65258412E4E}"/>
              </a:ext>
            </a:extLst>
          </p:cNvPr>
          <p:cNvSpPr>
            <a:spLocks noGrp="1"/>
          </p:cNvSpPr>
          <p:nvPr>
            <p:ph type="body" sz="half" idx="15" hasCustomPrompt="1"/>
          </p:nvPr>
        </p:nvSpPr>
        <p:spPr>
          <a:xfrm>
            <a:off x="9098838" y="2991024"/>
            <a:ext cx="2043689" cy="2562865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7918957C-D992-B14E-B3CF-DF79DE5FD83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041343" y="2038860"/>
            <a:ext cx="2043689" cy="499239"/>
          </a:xfrm>
        </p:spPr>
        <p:txBody>
          <a:bodyPr anchor="t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E07B3771-1E63-D441-8D31-4EF4C5FCE80A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3704733" y="2038859"/>
            <a:ext cx="2043689" cy="499239"/>
          </a:xfrm>
        </p:spPr>
        <p:txBody>
          <a:bodyPr anchor="t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CB6B6EF3-C98C-2045-9257-6C4632BDF532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6401031" y="2038858"/>
            <a:ext cx="2043689" cy="499239"/>
          </a:xfrm>
        </p:spPr>
        <p:txBody>
          <a:bodyPr anchor="t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3420E4C0-0E00-8641-A6B6-8CE9E411F5CC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9098838" y="2038858"/>
            <a:ext cx="2043689" cy="499239"/>
          </a:xfrm>
        </p:spPr>
        <p:txBody>
          <a:bodyPr anchor="t">
            <a:noAutofit/>
          </a:bodyPr>
          <a:lstStyle>
            <a:lvl1pPr marL="0" indent="0" algn="ctr">
              <a:buNone/>
              <a:defRPr sz="1600" b="1" cap="all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BF1E311A-2BB1-BA48-A022-E65EDC95383F}"/>
              </a:ext>
            </a:extLst>
          </p:cNvPr>
          <p:cNvCxnSpPr>
            <a:cxnSpLocks/>
          </p:cNvCxnSpPr>
          <p:nvPr userDrawn="1"/>
        </p:nvCxnSpPr>
        <p:spPr>
          <a:xfrm>
            <a:off x="838199" y="6288108"/>
            <a:ext cx="10515599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itle 1">
            <a:extLst>
              <a:ext uri="{FF2B5EF4-FFF2-40B4-BE49-F238E27FC236}">
                <a16:creationId xmlns:a16="http://schemas.microsoft.com/office/drawing/2014/main" id="{7D87B414-7016-45E8-A108-469BEBA54E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716898"/>
            <a:ext cx="10515600" cy="583740"/>
          </a:xfrm>
        </p:spPr>
        <p:txBody>
          <a:bodyPr vert="horz">
            <a:noAutofit/>
          </a:bodyPr>
          <a:lstStyle>
            <a:lvl1pPr algn="ctr">
              <a:defRPr sz="36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AEF1D914-12B6-4D51-BDFC-74053F48A7C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8900000">
            <a:off x="1965365" y="2739149"/>
            <a:ext cx="195645" cy="195645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7CEB963B-AD78-40F6-B77B-B690BFD1832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8900000">
            <a:off x="4632365" y="2739150"/>
            <a:ext cx="195645" cy="195645"/>
          </a:xfrm>
          <a:prstGeom prst="rect">
            <a:avLst/>
          </a:prstGeom>
        </p:spPr>
      </p:pic>
      <p:pic>
        <p:nvPicPr>
          <p:cNvPr id="37" name="Graphic 36">
            <a:extLst>
              <a:ext uri="{FF2B5EF4-FFF2-40B4-BE49-F238E27FC236}">
                <a16:creationId xmlns:a16="http://schemas.microsoft.com/office/drawing/2014/main" id="{03D7E00A-117D-4432-B91B-50856799543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8900000">
            <a:off x="7318415" y="2739151"/>
            <a:ext cx="195645" cy="195645"/>
          </a:xfrm>
          <a:prstGeom prst="rect">
            <a:avLst/>
          </a:prstGeom>
        </p:spPr>
      </p:pic>
      <p:pic>
        <p:nvPicPr>
          <p:cNvPr id="38" name="Graphic 37">
            <a:extLst>
              <a:ext uri="{FF2B5EF4-FFF2-40B4-BE49-F238E27FC236}">
                <a16:creationId xmlns:a16="http://schemas.microsoft.com/office/drawing/2014/main" id="{258A19C6-4517-453B-B3DD-30922CBC82E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8900000">
            <a:off x="10017166" y="2739152"/>
            <a:ext cx="195645" cy="195645"/>
          </a:xfrm>
          <a:prstGeom prst="rect">
            <a:avLst/>
          </a:prstGeom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id="{B51BAD73-8292-4C91-BB7F-E4BEB424AF56}"/>
              </a:ext>
            </a:extLst>
          </p:cNvPr>
          <p:cNvSpPr/>
          <p:nvPr userDrawn="1"/>
        </p:nvSpPr>
        <p:spPr>
          <a:xfrm flipV="1">
            <a:off x="1037663" y="2518504"/>
            <a:ext cx="2049750" cy="24917"/>
          </a:xfrm>
          <a:prstGeom prst="rect">
            <a:avLst/>
          </a:prstGeom>
          <a:solidFill>
            <a:srgbClr val="3FCF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81057486-BDDA-4CB6-B3E6-610C8214F727}"/>
              </a:ext>
            </a:extLst>
          </p:cNvPr>
          <p:cNvSpPr/>
          <p:nvPr userDrawn="1"/>
        </p:nvSpPr>
        <p:spPr>
          <a:xfrm flipV="1">
            <a:off x="3699901" y="2518504"/>
            <a:ext cx="2049750" cy="24917"/>
          </a:xfrm>
          <a:prstGeom prst="rect">
            <a:avLst/>
          </a:prstGeom>
          <a:solidFill>
            <a:srgbClr val="3FCF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06E7B23-86E1-4DB4-B05B-F4FAAD08A800}"/>
              </a:ext>
            </a:extLst>
          </p:cNvPr>
          <p:cNvSpPr/>
          <p:nvPr userDrawn="1"/>
        </p:nvSpPr>
        <p:spPr>
          <a:xfrm flipV="1">
            <a:off x="6405001" y="2518504"/>
            <a:ext cx="2049750" cy="24917"/>
          </a:xfrm>
          <a:prstGeom prst="rect">
            <a:avLst/>
          </a:prstGeom>
          <a:solidFill>
            <a:srgbClr val="3FCF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C5F1306-76E4-4E3E-A225-933B8716B35F}"/>
              </a:ext>
            </a:extLst>
          </p:cNvPr>
          <p:cNvSpPr/>
          <p:nvPr userDrawn="1"/>
        </p:nvSpPr>
        <p:spPr>
          <a:xfrm flipV="1">
            <a:off x="9100576" y="2518504"/>
            <a:ext cx="2049750" cy="24917"/>
          </a:xfrm>
          <a:prstGeom prst="rect">
            <a:avLst/>
          </a:prstGeom>
          <a:solidFill>
            <a:srgbClr val="3FCF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012D06A4-F415-44AF-B9D5-22899E747BE7}"/>
              </a:ext>
            </a:extLst>
          </p:cNvPr>
          <p:cNvGrpSpPr/>
          <p:nvPr userDrawn="1"/>
        </p:nvGrpSpPr>
        <p:grpSpPr>
          <a:xfrm>
            <a:off x="5965074" y="6408183"/>
            <a:ext cx="261852" cy="261455"/>
            <a:chOff x="1830159" y="2890771"/>
            <a:chExt cx="588560" cy="587668"/>
          </a:xfrm>
          <a:solidFill>
            <a:schemeClr val="bg1"/>
          </a:solidFill>
        </p:grpSpPr>
        <p:sp>
          <p:nvSpPr>
            <p:cNvPr id="44" name="Rectangle 15">
              <a:extLst>
                <a:ext uri="{FF2B5EF4-FFF2-40B4-BE49-F238E27FC236}">
                  <a16:creationId xmlns:a16="http://schemas.microsoft.com/office/drawing/2014/main" id="{3984EB43-E82E-4857-BC88-6AA4A1AC6E99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Rectangle 15">
              <a:extLst>
                <a:ext uri="{FF2B5EF4-FFF2-40B4-BE49-F238E27FC236}">
                  <a16:creationId xmlns:a16="http://schemas.microsoft.com/office/drawing/2014/main" id="{5C6A6081-9C98-4863-BDD5-AA2FB1008B18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548407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7E86F5F-1E11-484A-A336-4A44B9910B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B83655-DE1E-1447-B3EC-C1C6B5B477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226219"/>
            <a:ext cx="2736851" cy="365125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10C26C-3B29-6040-B88B-2CB45B896D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5DC393DD-D4D6-F74F-88F2-1AB6B2C988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914400"/>
            <a:ext cx="3242309" cy="5153113"/>
          </a:xfrm>
        </p:spPr>
        <p:txBody>
          <a:bodyPr lIns="0" anchor="ctr">
            <a:normAutofit/>
          </a:bodyPr>
          <a:lstStyle>
            <a:lvl1pPr>
              <a:lnSpc>
                <a:spcPct val="80000"/>
              </a:lnSpc>
              <a:defRPr sz="48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27" name="Rechteck 154">
            <a:extLst>
              <a:ext uri="{FF2B5EF4-FFF2-40B4-BE49-F238E27FC236}">
                <a16:creationId xmlns:a16="http://schemas.microsoft.com/office/drawing/2014/main" id="{C1466298-1578-494B-864F-8B9A8EC7F151}"/>
              </a:ext>
            </a:extLst>
          </p:cNvPr>
          <p:cNvSpPr/>
          <p:nvPr userDrawn="1"/>
        </p:nvSpPr>
        <p:spPr>
          <a:xfrm>
            <a:off x="7325612" y="0"/>
            <a:ext cx="4876549" cy="6181344"/>
          </a:xfrm>
          <a:prstGeom prst="rect">
            <a:avLst/>
          </a:prstGeom>
          <a:solidFill>
            <a:srgbClr val="0D64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>
              <a:latin typeface="+mn-lt"/>
            </a:endParaRPr>
          </a:p>
        </p:txBody>
      </p:sp>
      <p:sp>
        <p:nvSpPr>
          <p:cNvPr id="33" name="Rechteck 22">
            <a:extLst>
              <a:ext uri="{FF2B5EF4-FFF2-40B4-BE49-F238E27FC236}">
                <a16:creationId xmlns:a16="http://schemas.microsoft.com/office/drawing/2014/main" id="{2463A228-FEF4-A249-AD20-47B3435FA9CB}"/>
              </a:ext>
            </a:extLst>
          </p:cNvPr>
          <p:cNvSpPr/>
          <p:nvPr userDrawn="1"/>
        </p:nvSpPr>
        <p:spPr>
          <a:xfrm>
            <a:off x="4619315" y="0"/>
            <a:ext cx="2706297" cy="6181344"/>
          </a:xfrm>
          <a:prstGeom prst="rect">
            <a:avLst/>
          </a:prstGeom>
          <a:solidFill>
            <a:srgbClr val="0D64EF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>
              <a:latin typeface="+mn-lt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E43F38-1BDA-4DC8-9C04-7BC8C460F5B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708017" y="609450"/>
            <a:ext cx="4188708" cy="306912"/>
          </a:xfrm>
        </p:spPr>
        <p:txBody>
          <a:bodyPr>
            <a:normAutofit/>
          </a:bodyPr>
          <a:lstStyle>
            <a:lvl1pPr marL="0" indent="0">
              <a:buNone/>
              <a:defRPr sz="1800" b="1" u="none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item tit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BCFA6CF4-39E5-41D2-AA19-2CAC870838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23410" y="591344"/>
            <a:ext cx="2092614" cy="390617"/>
          </a:xfrm>
        </p:spPr>
        <p:txBody>
          <a:bodyPr>
            <a:norm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im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EC60947E-A046-4F1A-8C63-D425C0C398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8017" y="1283284"/>
            <a:ext cx="4188708" cy="306912"/>
          </a:xfrm>
        </p:spPr>
        <p:txBody>
          <a:bodyPr>
            <a:normAutofit/>
          </a:bodyPr>
          <a:lstStyle>
            <a:lvl1pPr marL="0" indent="0">
              <a:buNone/>
              <a:defRPr sz="1800" b="1" u="none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item title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BC9CCAE0-C8AE-4258-8463-E135CCCA1AC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3409" y="1265178"/>
            <a:ext cx="2092613" cy="390617"/>
          </a:xfrm>
        </p:spPr>
        <p:txBody>
          <a:bodyPr>
            <a:norm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ime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3D3ECAEE-5A8F-422A-BDF2-2D5341B4D3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08017" y="1957118"/>
            <a:ext cx="4188708" cy="306912"/>
          </a:xfrm>
        </p:spPr>
        <p:txBody>
          <a:bodyPr>
            <a:normAutofit/>
          </a:bodyPr>
          <a:lstStyle>
            <a:lvl1pPr marL="0" indent="0">
              <a:buNone/>
              <a:defRPr sz="1800" b="1" u="none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item title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2E346B1B-B140-4AA7-9460-FC875542756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23410" y="1939012"/>
            <a:ext cx="2092612" cy="390617"/>
          </a:xfrm>
        </p:spPr>
        <p:txBody>
          <a:bodyPr>
            <a:norm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ime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7D5C4099-F652-4B49-9962-778FEE615BB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708017" y="2630952"/>
            <a:ext cx="4188708" cy="306912"/>
          </a:xfrm>
        </p:spPr>
        <p:txBody>
          <a:bodyPr>
            <a:normAutofit/>
          </a:bodyPr>
          <a:lstStyle>
            <a:lvl1pPr marL="0" indent="0">
              <a:buNone/>
              <a:defRPr sz="1800" b="1" u="none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item title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B28E2F01-71DD-4890-B568-09A1A71E7B7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23409" y="2612846"/>
            <a:ext cx="2092611" cy="390617"/>
          </a:xfrm>
        </p:spPr>
        <p:txBody>
          <a:bodyPr>
            <a:norm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ime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B0442EC8-29F5-4DD9-8075-06CB532E1B0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08015" y="3302936"/>
            <a:ext cx="4188708" cy="306912"/>
          </a:xfrm>
        </p:spPr>
        <p:txBody>
          <a:bodyPr>
            <a:normAutofit/>
          </a:bodyPr>
          <a:lstStyle>
            <a:lvl1pPr marL="0" indent="0">
              <a:buNone/>
              <a:defRPr sz="1800" b="1" u="none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item title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512EA932-6B30-4CEC-BE80-05EBA4A2547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023408" y="3284830"/>
            <a:ext cx="2092610" cy="390617"/>
          </a:xfrm>
        </p:spPr>
        <p:txBody>
          <a:bodyPr>
            <a:norm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ime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CB4B64F3-015E-47C0-B672-6AFFB165FBA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708015" y="3974858"/>
            <a:ext cx="4188708" cy="306912"/>
          </a:xfrm>
        </p:spPr>
        <p:txBody>
          <a:bodyPr>
            <a:normAutofit/>
          </a:bodyPr>
          <a:lstStyle>
            <a:lvl1pPr marL="0" indent="0">
              <a:buNone/>
              <a:defRPr sz="1800" b="1" u="none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item title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21515B3D-70BE-45C1-A806-BDA3565AD77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023408" y="3956752"/>
            <a:ext cx="2092610" cy="390617"/>
          </a:xfrm>
        </p:spPr>
        <p:txBody>
          <a:bodyPr>
            <a:norm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ime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06A69717-2EAF-480C-9FAD-A97AB33A179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708015" y="4652519"/>
            <a:ext cx="4188708" cy="306912"/>
          </a:xfrm>
        </p:spPr>
        <p:txBody>
          <a:bodyPr>
            <a:normAutofit/>
          </a:bodyPr>
          <a:lstStyle>
            <a:lvl1pPr marL="0" indent="0">
              <a:buNone/>
              <a:defRPr sz="1800" b="1" u="none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item title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E596FEEB-1707-49C8-A371-2D8887E597C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033568" y="4634413"/>
            <a:ext cx="2092610" cy="390617"/>
          </a:xfrm>
        </p:spPr>
        <p:txBody>
          <a:bodyPr>
            <a:norm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ime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DA155859-4AC6-4E21-8632-D2CBF2429C6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708015" y="5322665"/>
            <a:ext cx="4188708" cy="306912"/>
          </a:xfrm>
        </p:spPr>
        <p:txBody>
          <a:bodyPr>
            <a:normAutofit/>
          </a:bodyPr>
          <a:lstStyle>
            <a:lvl1pPr marL="0" indent="0">
              <a:buNone/>
              <a:defRPr sz="1800" b="1" u="none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item title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5E50B90F-F007-4F02-8822-F6AE304C9F9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33568" y="5304559"/>
            <a:ext cx="2092610" cy="390617"/>
          </a:xfrm>
        </p:spPr>
        <p:txBody>
          <a:bodyPr>
            <a:norm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im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E28CAFC-FD06-4E86-AE4C-9EEC313D20E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84639" y="226219"/>
            <a:ext cx="320048" cy="365125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75202B64-8DE3-44E2-B12B-31A86DA07F9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0800000">
            <a:off x="4670744" y="5929018"/>
            <a:ext cx="195645" cy="195645"/>
          </a:xfrm>
          <a:prstGeom prst="rect">
            <a:avLst/>
          </a:prstGeom>
        </p:spPr>
      </p:pic>
      <p:grpSp>
        <p:nvGrpSpPr>
          <p:cNvPr id="37" name="Group 36">
            <a:extLst>
              <a:ext uri="{FF2B5EF4-FFF2-40B4-BE49-F238E27FC236}">
                <a16:creationId xmlns:a16="http://schemas.microsoft.com/office/drawing/2014/main" id="{61F41EE4-7545-42DD-830A-D2BB8FA82F89}"/>
              </a:ext>
            </a:extLst>
          </p:cNvPr>
          <p:cNvGrpSpPr/>
          <p:nvPr userDrawn="1"/>
        </p:nvGrpSpPr>
        <p:grpSpPr>
          <a:xfrm>
            <a:off x="5965074" y="6408183"/>
            <a:ext cx="261852" cy="261455"/>
            <a:chOff x="1830159" y="2890771"/>
            <a:chExt cx="588560" cy="587668"/>
          </a:xfrm>
          <a:solidFill>
            <a:schemeClr val="bg1"/>
          </a:solidFill>
        </p:grpSpPr>
        <p:sp>
          <p:nvSpPr>
            <p:cNvPr id="40" name="Rectangle 15">
              <a:extLst>
                <a:ext uri="{FF2B5EF4-FFF2-40B4-BE49-F238E27FC236}">
                  <a16:creationId xmlns:a16="http://schemas.microsoft.com/office/drawing/2014/main" id="{F50B95C8-DDAC-49B0-A2E3-A86C81E4F184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Rectangle 15">
              <a:extLst>
                <a:ext uri="{FF2B5EF4-FFF2-40B4-BE49-F238E27FC236}">
                  <a16:creationId xmlns:a16="http://schemas.microsoft.com/office/drawing/2014/main" id="{8F20BB7A-61DC-45C1-BFC6-6A6A0414FF3C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684000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 Content 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7E86F5F-1E11-484A-A336-4A44B9910B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B83655-DE1E-1447-B3EC-C1C6B5B477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226219"/>
            <a:ext cx="2736851" cy="365125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10C26C-3B29-6040-B88B-2CB45B896D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hteck 22">
            <a:extLst>
              <a:ext uri="{FF2B5EF4-FFF2-40B4-BE49-F238E27FC236}">
                <a16:creationId xmlns:a16="http://schemas.microsoft.com/office/drawing/2014/main" id="{8130DF63-F710-5A4C-9EA7-0AEAAF42140C}"/>
              </a:ext>
            </a:extLst>
          </p:cNvPr>
          <p:cNvSpPr/>
          <p:nvPr userDrawn="1"/>
        </p:nvSpPr>
        <p:spPr>
          <a:xfrm>
            <a:off x="4059048" y="0"/>
            <a:ext cx="2720071" cy="6858000"/>
          </a:xfrm>
          <a:prstGeom prst="rect">
            <a:avLst/>
          </a:prstGeom>
          <a:solidFill>
            <a:schemeClr val="accent1">
              <a:alpha val="8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>
              <a:latin typeface="+mj-lt"/>
            </a:endParaRPr>
          </a:p>
        </p:txBody>
      </p:sp>
      <p:sp>
        <p:nvSpPr>
          <p:cNvPr id="15" name="Rechteck 40">
            <a:extLst>
              <a:ext uri="{FF2B5EF4-FFF2-40B4-BE49-F238E27FC236}">
                <a16:creationId xmlns:a16="http://schemas.microsoft.com/office/drawing/2014/main" id="{0D0C9F91-5E2C-AA4C-B5D3-616783C07DEB}"/>
              </a:ext>
            </a:extLst>
          </p:cNvPr>
          <p:cNvSpPr/>
          <p:nvPr userDrawn="1"/>
        </p:nvSpPr>
        <p:spPr>
          <a:xfrm>
            <a:off x="6779119" y="0"/>
            <a:ext cx="2693273" cy="6858000"/>
          </a:xfrm>
          <a:prstGeom prst="rect">
            <a:avLst/>
          </a:prstGeom>
          <a:solidFill>
            <a:srgbClr val="0A3E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>
              <a:latin typeface="+mj-lt"/>
            </a:endParaRPr>
          </a:p>
        </p:txBody>
      </p:sp>
      <p:sp>
        <p:nvSpPr>
          <p:cNvPr id="16" name="Rechteck 43">
            <a:extLst>
              <a:ext uri="{FF2B5EF4-FFF2-40B4-BE49-F238E27FC236}">
                <a16:creationId xmlns:a16="http://schemas.microsoft.com/office/drawing/2014/main" id="{206E3413-C568-D64B-9E80-B53310C852DC}"/>
              </a:ext>
            </a:extLst>
          </p:cNvPr>
          <p:cNvSpPr/>
          <p:nvPr userDrawn="1"/>
        </p:nvSpPr>
        <p:spPr>
          <a:xfrm>
            <a:off x="9472393" y="0"/>
            <a:ext cx="2720926" cy="6858000"/>
          </a:xfrm>
          <a:prstGeom prst="rect">
            <a:avLst/>
          </a:prstGeom>
          <a:solidFill>
            <a:srgbClr val="002366">
              <a:alpha val="8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>
              <a:latin typeface="+mj-lt"/>
            </a:endParaRPr>
          </a:p>
        </p:txBody>
      </p:sp>
      <p:sp>
        <p:nvSpPr>
          <p:cNvPr id="21" name="Ellipse 53">
            <a:extLst>
              <a:ext uri="{FF2B5EF4-FFF2-40B4-BE49-F238E27FC236}">
                <a16:creationId xmlns:a16="http://schemas.microsoft.com/office/drawing/2014/main" id="{3826F6B2-4CA6-7A40-B030-AFFD2DFE1E25}"/>
              </a:ext>
            </a:extLst>
          </p:cNvPr>
          <p:cNvSpPr/>
          <p:nvPr userDrawn="1"/>
        </p:nvSpPr>
        <p:spPr>
          <a:xfrm rot="10800000" flipV="1">
            <a:off x="3687503" y="3688556"/>
            <a:ext cx="599724" cy="599724"/>
          </a:xfrm>
          <a:prstGeom prst="ellipse">
            <a:avLst/>
          </a:prstGeom>
          <a:solidFill>
            <a:schemeClr val="accent1"/>
          </a:solidFill>
          <a:ln w="190500">
            <a:solidFill>
              <a:srgbClr val="191919"/>
            </a:solidFill>
          </a:ln>
          <a:effectLst>
            <a:outerShdw blurRad="38100" dist="38100" algn="ctr" rotWithShape="0">
              <a:srgbClr val="000000">
                <a:alpha val="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22" name="Ellipse 54">
            <a:extLst>
              <a:ext uri="{FF2B5EF4-FFF2-40B4-BE49-F238E27FC236}">
                <a16:creationId xmlns:a16="http://schemas.microsoft.com/office/drawing/2014/main" id="{86F7871C-2F85-7844-81E0-60E1101BE810}"/>
              </a:ext>
            </a:extLst>
          </p:cNvPr>
          <p:cNvSpPr/>
          <p:nvPr userDrawn="1"/>
        </p:nvSpPr>
        <p:spPr>
          <a:xfrm rot="10800000" flipV="1">
            <a:off x="6480060" y="3688556"/>
            <a:ext cx="599724" cy="599724"/>
          </a:xfrm>
          <a:prstGeom prst="ellipse">
            <a:avLst/>
          </a:prstGeom>
          <a:solidFill>
            <a:schemeClr val="accent1"/>
          </a:solidFill>
          <a:ln w="190500">
            <a:solidFill>
              <a:srgbClr val="191919"/>
            </a:solidFill>
          </a:ln>
          <a:effectLst>
            <a:outerShdw blurRad="38100" dist="38100" algn="ctr" rotWithShape="0">
              <a:srgbClr val="000000">
                <a:alpha val="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23" name="Ellipse 61">
            <a:extLst>
              <a:ext uri="{FF2B5EF4-FFF2-40B4-BE49-F238E27FC236}">
                <a16:creationId xmlns:a16="http://schemas.microsoft.com/office/drawing/2014/main" id="{E486C173-A35A-6B4A-B15D-C75032BBAF90}"/>
              </a:ext>
            </a:extLst>
          </p:cNvPr>
          <p:cNvSpPr/>
          <p:nvPr userDrawn="1"/>
        </p:nvSpPr>
        <p:spPr>
          <a:xfrm rot="10800000" flipV="1">
            <a:off x="9186357" y="3688556"/>
            <a:ext cx="599724" cy="599724"/>
          </a:xfrm>
          <a:prstGeom prst="ellipse">
            <a:avLst/>
          </a:prstGeom>
          <a:solidFill>
            <a:schemeClr val="accent1"/>
          </a:solidFill>
          <a:ln w="190500">
            <a:solidFill>
              <a:srgbClr val="191919"/>
            </a:solidFill>
          </a:ln>
          <a:effectLst>
            <a:outerShdw blurRad="38100" dist="38100" algn="ctr" rotWithShape="0">
              <a:srgbClr val="000000">
                <a:alpha val="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5DC393DD-D4D6-F74F-88F2-1AB6B2C988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1" y="914400"/>
            <a:ext cx="2743200" cy="5153113"/>
          </a:xfrm>
        </p:spPr>
        <p:txBody>
          <a:bodyPr anchor="ctr">
            <a:normAutofit/>
          </a:bodyPr>
          <a:lstStyle>
            <a:lvl1pPr>
              <a:defRPr sz="36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9C4989C6-8CAA-D243-B0B8-72368705A588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254311" y="4684762"/>
            <a:ext cx="2310434" cy="1222048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0A623219-38E4-0D43-AD38-CE69E9C2584D}"/>
              </a:ext>
            </a:extLst>
          </p:cNvPr>
          <p:cNvSpPr>
            <a:spLocks noGrp="1"/>
          </p:cNvSpPr>
          <p:nvPr>
            <p:ph type="body" sz="half" idx="13" hasCustomPrompt="1"/>
          </p:nvPr>
        </p:nvSpPr>
        <p:spPr>
          <a:xfrm>
            <a:off x="6959857" y="4684762"/>
            <a:ext cx="2325814" cy="1222048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AB3780BF-A784-2F42-99A8-3320E39870B9}"/>
              </a:ext>
            </a:extLst>
          </p:cNvPr>
          <p:cNvSpPr>
            <a:spLocks noGrp="1"/>
          </p:cNvSpPr>
          <p:nvPr>
            <p:ph type="body" sz="half" idx="14" hasCustomPrompt="1"/>
          </p:nvPr>
        </p:nvSpPr>
        <p:spPr>
          <a:xfrm>
            <a:off x="9666154" y="4684762"/>
            <a:ext cx="2325813" cy="1222048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E2A9131-D623-8147-BC0F-92D31630BD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20295" y="384534"/>
            <a:ext cx="2365375" cy="59798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6" name="Text Placeholder 7">
            <a:extLst>
              <a:ext uri="{FF2B5EF4-FFF2-40B4-BE49-F238E27FC236}">
                <a16:creationId xmlns:a16="http://schemas.microsoft.com/office/drawing/2014/main" id="{A5967563-9CAC-DE48-9DAD-44EB958F30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626592" y="382797"/>
            <a:ext cx="2365375" cy="599724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F5D61262-0CE7-5445-BC85-155389B777F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54310" y="382797"/>
            <a:ext cx="2310434" cy="599724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25246D72-7C95-48B5-B19C-F1BA246E0438}"/>
              </a:ext>
            </a:extLst>
          </p:cNvPr>
          <p:cNvSpPr>
            <a:spLocks noGrp="1"/>
          </p:cNvSpPr>
          <p:nvPr>
            <p:ph type="body" sz="half" idx="18" hasCustomPrompt="1"/>
          </p:nvPr>
        </p:nvSpPr>
        <p:spPr>
          <a:xfrm>
            <a:off x="4254310" y="1137920"/>
            <a:ext cx="2310435" cy="2141309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AE118696-F0EF-4079-9CC7-60174459BB37}"/>
              </a:ext>
            </a:extLst>
          </p:cNvPr>
          <p:cNvSpPr>
            <a:spLocks noGrp="1"/>
          </p:cNvSpPr>
          <p:nvPr>
            <p:ph type="body" sz="half" idx="19" hasCustomPrompt="1"/>
          </p:nvPr>
        </p:nvSpPr>
        <p:spPr>
          <a:xfrm>
            <a:off x="6920295" y="1137919"/>
            <a:ext cx="2365376" cy="2141309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3AB439E4-BDEC-458C-B6C5-F996A70AB674}"/>
              </a:ext>
            </a:extLst>
          </p:cNvPr>
          <p:cNvSpPr>
            <a:spLocks noGrp="1"/>
          </p:cNvSpPr>
          <p:nvPr>
            <p:ph type="body" sz="half" idx="20" hasCustomPrompt="1"/>
          </p:nvPr>
        </p:nvSpPr>
        <p:spPr>
          <a:xfrm>
            <a:off x="9626591" y="1137919"/>
            <a:ext cx="2365375" cy="214131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39" name="Graphic 38">
            <a:extLst>
              <a:ext uri="{FF2B5EF4-FFF2-40B4-BE49-F238E27FC236}">
                <a16:creationId xmlns:a16="http://schemas.microsoft.com/office/drawing/2014/main" id="{5AA23966-D3A4-448F-B542-E5A221DD1B1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898275" y="3928864"/>
            <a:ext cx="181882" cy="114378"/>
          </a:xfrm>
          <a:prstGeom prst="rect">
            <a:avLst/>
          </a:prstGeom>
        </p:spPr>
      </p:pic>
      <p:pic>
        <p:nvPicPr>
          <p:cNvPr id="40" name="Graphic 39">
            <a:extLst>
              <a:ext uri="{FF2B5EF4-FFF2-40B4-BE49-F238E27FC236}">
                <a16:creationId xmlns:a16="http://schemas.microsoft.com/office/drawing/2014/main" id="{E93257A9-5BFA-4A42-90A9-BEAD435FFC3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78283" y="3928864"/>
            <a:ext cx="208129" cy="114378"/>
          </a:xfrm>
          <a:prstGeom prst="rect">
            <a:avLst/>
          </a:prstGeom>
        </p:spPr>
      </p:pic>
      <p:pic>
        <p:nvPicPr>
          <p:cNvPr id="41" name="Graphic 40">
            <a:extLst>
              <a:ext uri="{FF2B5EF4-FFF2-40B4-BE49-F238E27FC236}">
                <a16:creationId xmlns:a16="http://schemas.microsoft.com/office/drawing/2014/main" id="{3D401E34-1BF7-4723-AAAD-78FBE3EE71F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71229" y="3928864"/>
            <a:ext cx="208129" cy="114378"/>
          </a:xfrm>
          <a:prstGeom prst="rect">
            <a:avLst/>
          </a:prstGeom>
        </p:spPr>
      </p:pic>
      <p:pic>
        <p:nvPicPr>
          <p:cNvPr id="42" name="Graphic 41">
            <a:extLst>
              <a:ext uri="{FF2B5EF4-FFF2-40B4-BE49-F238E27FC236}">
                <a16:creationId xmlns:a16="http://schemas.microsoft.com/office/drawing/2014/main" id="{1FAB4A59-35EB-44B4-8995-292F553BE42C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2700000">
            <a:off x="4432469" y="3888230"/>
            <a:ext cx="195645" cy="195645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1455F9DE-BBEF-4132-9403-DF61DA703AA3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2700000">
            <a:off x="7242168" y="3888230"/>
            <a:ext cx="195645" cy="195645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393E575A-096D-44EB-96A1-2552DF622259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2700000">
            <a:off x="9927180" y="3888230"/>
            <a:ext cx="195645" cy="195645"/>
          </a:xfrm>
          <a:prstGeom prst="rect">
            <a:avLst/>
          </a:prstGeom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6FC52D9B-47C2-4EAA-8DB5-43395E26DBB4}"/>
              </a:ext>
            </a:extLst>
          </p:cNvPr>
          <p:cNvSpPr/>
          <p:nvPr userDrawn="1"/>
        </p:nvSpPr>
        <p:spPr>
          <a:xfrm flipV="1">
            <a:off x="4254672" y="974079"/>
            <a:ext cx="2309711" cy="24670"/>
          </a:xfrm>
          <a:prstGeom prst="rect">
            <a:avLst/>
          </a:prstGeom>
          <a:solidFill>
            <a:srgbClr val="C1F5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62399F82-FDF5-44B3-AB68-40B731AE53A7}"/>
              </a:ext>
            </a:extLst>
          </p:cNvPr>
          <p:cNvSpPr/>
          <p:nvPr userDrawn="1"/>
        </p:nvSpPr>
        <p:spPr>
          <a:xfrm flipV="1">
            <a:off x="6928832" y="973831"/>
            <a:ext cx="2356136" cy="25166"/>
          </a:xfrm>
          <a:prstGeom prst="rect">
            <a:avLst/>
          </a:prstGeom>
          <a:solidFill>
            <a:srgbClr val="C1F5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3FD1AA6D-735E-4B64-BBDD-A29D04F7CA29}"/>
              </a:ext>
            </a:extLst>
          </p:cNvPr>
          <p:cNvSpPr/>
          <p:nvPr userDrawn="1"/>
        </p:nvSpPr>
        <p:spPr>
          <a:xfrm flipV="1">
            <a:off x="9630468" y="973831"/>
            <a:ext cx="2356136" cy="25166"/>
          </a:xfrm>
          <a:prstGeom prst="rect">
            <a:avLst/>
          </a:prstGeom>
          <a:solidFill>
            <a:srgbClr val="C1F5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BEE9102D-2FBA-4B3E-AAD0-DCD1D60CD488}"/>
              </a:ext>
            </a:extLst>
          </p:cNvPr>
          <p:cNvGrpSpPr/>
          <p:nvPr userDrawn="1"/>
        </p:nvGrpSpPr>
        <p:grpSpPr>
          <a:xfrm>
            <a:off x="5965074" y="6408183"/>
            <a:ext cx="261852" cy="261455"/>
            <a:chOff x="1830159" y="2890771"/>
            <a:chExt cx="588560" cy="587668"/>
          </a:xfrm>
          <a:solidFill>
            <a:schemeClr val="bg1"/>
          </a:solidFill>
        </p:grpSpPr>
        <p:sp>
          <p:nvSpPr>
            <p:cNvPr id="49" name="Rectangle 15">
              <a:extLst>
                <a:ext uri="{FF2B5EF4-FFF2-40B4-BE49-F238E27FC236}">
                  <a16:creationId xmlns:a16="http://schemas.microsoft.com/office/drawing/2014/main" id="{D346581F-C148-4EA1-B64A-67139EB93B13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Rectangle 15">
              <a:extLst>
                <a:ext uri="{FF2B5EF4-FFF2-40B4-BE49-F238E27FC236}">
                  <a16:creationId xmlns:a16="http://schemas.microsoft.com/office/drawing/2014/main" id="{894EDCC1-EFEC-4969-BD41-29EAED54FC03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83754787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 Content L - Al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7E86F5F-1E11-484A-A336-4A44B9910B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B83655-DE1E-1447-B3EC-C1C6B5B477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226219"/>
            <a:ext cx="2736851" cy="365125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10C26C-3B29-6040-B88B-2CB45B896D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Rechteck 22">
            <a:extLst>
              <a:ext uri="{FF2B5EF4-FFF2-40B4-BE49-F238E27FC236}">
                <a16:creationId xmlns:a16="http://schemas.microsoft.com/office/drawing/2014/main" id="{8130DF63-F710-5A4C-9EA7-0AEAAF42140C}"/>
              </a:ext>
            </a:extLst>
          </p:cNvPr>
          <p:cNvSpPr/>
          <p:nvPr userDrawn="1"/>
        </p:nvSpPr>
        <p:spPr>
          <a:xfrm>
            <a:off x="4059048" y="0"/>
            <a:ext cx="2720071" cy="6181344"/>
          </a:xfrm>
          <a:prstGeom prst="rect">
            <a:avLst/>
          </a:prstGeom>
          <a:solidFill>
            <a:schemeClr val="accent1">
              <a:alpha val="8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>
              <a:latin typeface="+mj-lt"/>
            </a:endParaRPr>
          </a:p>
        </p:txBody>
      </p:sp>
      <p:sp>
        <p:nvSpPr>
          <p:cNvPr id="15" name="Rechteck 40">
            <a:extLst>
              <a:ext uri="{FF2B5EF4-FFF2-40B4-BE49-F238E27FC236}">
                <a16:creationId xmlns:a16="http://schemas.microsoft.com/office/drawing/2014/main" id="{0D0C9F91-5E2C-AA4C-B5D3-616783C07DEB}"/>
              </a:ext>
            </a:extLst>
          </p:cNvPr>
          <p:cNvSpPr/>
          <p:nvPr userDrawn="1"/>
        </p:nvSpPr>
        <p:spPr>
          <a:xfrm>
            <a:off x="6779119" y="0"/>
            <a:ext cx="2693273" cy="6181344"/>
          </a:xfrm>
          <a:prstGeom prst="rect">
            <a:avLst/>
          </a:prstGeom>
          <a:solidFill>
            <a:srgbClr val="0A3E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>
              <a:latin typeface="+mj-lt"/>
            </a:endParaRPr>
          </a:p>
        </p:txBody>
      </p:sp>
      <p:sp>
        <p:nvSpPr>
          <p:cNvPr id="16" name="Rechteck 43">
            <a:extLst>
              <a:ext uri="{FF2B5EF4-FFF2-40B4-BE49-F238E27FC236}">
                <a16:creationId xmlns:a16="http://schemas.microsoft.com/office/drawing/2014/main" id="{206E3413-C568-D64B-9E80-B53310C852DC}"/>
              </a:ext>
            </a:extLst>
          </p:cNvPr>
          <p:cNvSpPr/>
          <p:nvPr userDrawn="1"/>
        </p:nvSpPr>
        <p:spPr>
          <a:xfrm>
            <a:off x="9472393" y="0"/>
            <a:ext cx="2720926" cy="6181344"/>
          </a:xfrm>
          <a:prstGeom prst="rect">
            <a:avLst/>
          </a:prstGeom>
          <a:solidFill>
            <a:srgbClr val="002366">
              <a:alpha val="8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>
              <a:latin typeface="+mj-lt"/>
            </a:endParaRPr>
          </a:p>
        </p:txBody>
      </p:sp>
      <p:sp>
        <p:nvSpPr>
          <p:cNvPr id="21" name="Ellipse 53">
            <a:extLst>
              <a:ext uri="{FF2B5EF4-FFF2-40B4-BE49-F238E27FC236}">
                <a16:creationId xmlns:a16="http://schemas.microsoft.com/office/drawing/2014/main" id="{3826F6B2-4CA6-7A40-B030-AFFD2DFE1E25}"/>
              </a:ext>
            </a:extLst>
          </p:cNvPr>
          <p:cNvSpPr/>
          <p:nvPr userDrawn="1"/>
        </p:nvSpPr>
        <p:spPr>
          <a:xfrm rot="10800000" flipV="1">
            <a:off x="3687503" y="3688556"/>
            <a:ext cx="599724" cy="599724"/>
          </a:xfrm>
          <a:prstGeom prst="ellipse">
            <a:avLst/>
          </a:prstGeom>
          <a:solidFill>
            <a:schemeClr val="accent1"/>
          </a:solidFill>
          <a:ln w="190500">
            <a:solidFill>
              <a:srgbClr val="191919"/>
            </a:solidFill>
          </a:ln>
          <a:effectLst>
            <a:outerShdw blurRad="38100" dist="38100" algn="ctr" rotWithShape="0">
              <a:srgbClr val="000000">
                <a:alpha val="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22" name="Ellipse 54">
            <a:extLst>
              <a:ext uri="{FF2B5EF4-FFF2-40B4-BE49-F238E27FC236}">
                <a16:creationId xmlns:a16="http://schemas.microsoft.com/office/drawing/2014/main" id="{86F7871C-2F85-7844-81E0-60E1101BE810}"/>
              </a:ext>
            </a:extLst>
          </p:cNvPr>
          <p:cNvSpPr/>
          <p:nvPr userDrawn="1"/>
        </p:nvSpPr>
        <p:spPr>
          <a:xfrm rot="10800000" flipV="1">
            <a:off x="6480060" y="3688556"/>
            <a:ext cx="599724" cy="599724"/>
          </a:xfrm>
          <a:prstGeom prst="ellipse">
            <a:avLst/>
          </a:prstGeom>
          <a:solidFill>
            <a:schemeClr val="accent1"/>
          </a:solidFill>
          <a:ln w="190500">
            <a:solidFill>
              <a:srgbClr val="191919"/>
            </a:solidFill>
          </a:ln>
          <a:effectLst>
            <a:outerShdw blurRad="38100" dist="38100" algn="ctr" rotWithShape="0">
              <a:srgbClr val="000000">
                <a:alpha val="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23" name="Ellipse 61">
            <a:extLst>
              <a:ext uri="{FF2B5EF4-FFF2-40B4-BE49-F238E27FC236}">
                <a16:creationId xmlns:a16="http://schemas.microsoft.com/office/drawing/2014/main" id="{E486C173-A35A-6B4A-B15D-C75032BBAF90}"/>
              </a:ext>
            </a:extLst>
          </p:cNvPr>
          <p:cNvSpPr/>
          <p:nvPr userDrawn="1"/>
        </p:nvSpPr>
        <p:spPr>
          <a:xfrm rot="10800000" flipV="1">
            <a:off x="9186357" y="3688556"/>
            <a:ext cx="599724" cy="599724"/>
          </a:xfrm>
          <a:prstGeom prst="ellipse">
            <a:avLst/>
          </a:prstGeom>
          <a:solidFill>
            <a:schemeClr val="accent1"/>
          </a:solidFill>
          <a:ln w="190500">
            <a:solidFill>
              <a:srgbClr val="191919"/>
            </a:solidFill>
          </a:ln>
          <a:effectLst>
            <a:outerShdw blurRad="38100" dist="38100" algn="ctr" rotWithShape="0">
              <a:srgbClr val="000000">
                <a:alpha val="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5DC393DD-D4D6-F74F-88F2-1AB6B2C988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1" y="914400"/>
            <a:ext cx="2743200" cy="5153113"/>
          </a:xfrm>
        </p:spPr>
        <p:txBody>
          <a:bodyPr anchor="ctr">
            <a:normAutofit/>
          </a:bodyPr>
          <a:lstStyle>
            <a:lvl1pPr>
              <a:defRPr sz="36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E2A9131-D623-8147-BC0F-92D31630BD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20295" y="384534"/>
            <a:ext cx="2365375" cy="597987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6" name="Text Placeholder 7">
            <a:extLst>
              <a:ext uri="{FF2B5EF4-FFF2-40B4-BE49-F238E27FC236}">
                <a16:creationId xmlns:a16="http://schemas.microsoft.com/office/drawing/2014/main" id="{A5967563-9CAC-DE48-9DAD-44EB958F30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626592" y="382797"/>
            <a:ext cx="2365375" cy="599724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F5D61262-0CE7-5445-BC85-155389B777F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54310" y="382797"/>
            <a:ext cx="2310434" cy="599724"/>
          </a:xfrm>
        </p:spPr>
        <p:txBody>
          <a:bodyPr>
            <a:normAutofit/>
          </a:bodyPr>
          <a:lstStyle>
            <a:lvl1pPr marL="0" indent="0">
              <a:buNone/>
              <a:defRPr sz="18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25246D72-7C95-48B5-B19C-F1BA246E0438}"/>
              </a:ext>
            </a:extLst>
          </p:cNvPr>
          <p:cNvSpPr>
            <a:spLocks noGrp="1"/>
          </p:cNvSpPr>
          <p:nvPr>
            <p:ph type="body" sz="half" idx="18" hasCustomPrompt="1"/>
          </p:nvPr>
        </p:nvSpPr>
        <p:spPr>
          <a:xfrm>
            <a:off x="4254310" y="1137920"/>
            <a:ext cx="2310435" cy="2141309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AE118696-F0EF-4079-9CC7-60174459BB37}"/>
              </a:ext>
            </a:extLst>
          </p:cNvPr>
          <p:cNvSpPr>
            <a:spLocks noGrp="1"/>
          </p:cNvSpPr>
          <p:nvPr>
            <p:ph type="body" sz="half" idx="19" hasCustomPrompt="1"/>
          </p:nvPr>
        </p:nvSpPr>
        <p:spPr>
          <a:xfrm>
            <a:off x="6920295" y="1137919"/>
            <a:ext cx="2365376" cy="2141309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3AB439E4-BDEC-458C-B6C5-F996A70AB674}"/>
              </a:ext>
            </a:extLst>
          </p:cNvPr>
          <p:cNvSpPr>
            <a:spLocks noGrp="1"/>
          </p:cNvSpPr>
          <p:nvPr>
            <p:ph type="body" sz="half" idx="20" hasCustomPrompt="1"/>
          </p:nvPr>
        </p:nvSpPr>
        <p:spPr>
          <a:xfrm>
            <a:off x="9626591" y="1137919"/>
            <a:ext cx="2365375" cy="214131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39" name="Graphic 38">
            <a:extLst>
              <a:ext uri="{FF2B5EF4-FFF2-40B4-BE49-F238E27FC236}">
                <a16:creationId xmlns:a16="http://schemas.microsoft.com/office/drawing/2014/main" id="{5AA23966-D3A4-448F-B542-E5A221DD1B1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898275" y="3928864"/>
            <a:ext cx="181882" cy="114378"/>
          </a:xfrm>
          <a:prstGeom prst="rect">
            <a:avLst/>
          </a:prstGeom>
        </p:spPr>
      </p:pic>
      <p:pic>
        <p:nvPicPr>
          <p:cNvPr id="40" name="Graphic 39">
            <a:extLst>
              <a:ext uri="{FF2B5EF4-FFF2-40B4-BE49-F238E27FC236}">
                <a16:creationId xmlns:a16="http://schemas.microsoft.com/office/drawing/2014/main" id="{E93257A9-5BFA-4A42-90A9-BEAD435FFC3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78283" y="3928864"/>
            <a:ext cx="208129" cy="114378"/>
          </a:xfrm>
          <a:prstGeom prst="rect">
            <a:avLst/>
          </a:prstGeom>
        </p:spPr>
      </p:pic>
      <p:pic>
        <p:nvPicPr>
          <p:cNvPr id="41" name="Graphic 40">
            <a:extLst>
              <a:ext uri="{FF2B5EF4-FFF2-40B4-BE49-F238E27FC236}">
                <a16:creationId xmlns:a16="http://schemas.microsoft.com/office/drawing/2014/main" id="{3D401E34-1BF7-4723-AAAD-78FBE3EE71F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71229" y="3928864"/>
            <a:ext cx="208129" cy="114378"/>
          </a:xfrm>
          <a:prstGeom prst="rect">
            <a:avLst/>
          </a:prstGeom>
        </p:spPr>
      </p:pic>
      <p:pic>
        <p:nvPicPr>
          <p:cNvPr id="42" name="Graphic 41">
            <a:extLst>
              <a:ext uri="{FF2B5EF4-FFF2-40B4-BE49-F238E27FC236}">
                <a16:creationId xmlns:a16="http://schemas.microsoft.com/office/drawing/2014/main" id="{1FAB4A59-35EB-44B4-8995-292F553BE42C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2700000">
            <a:off x="4432469" y="3888230"/>
            <a:ext cx="195645" cy="195645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1455F9DE-BBEF-4132-9403-DF61DA703AA3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2700000">
            <a:off x="7242168" y="3888230"/>
            <a:ext cx="195645" cy="195645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393E575A-096D-44EB-96A1-2552DF622259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2700000">
            <a:off x="9927180" y="3888230"/>
            <a:ext cx="195645" cy="195645"/>
          </a:xfrm>
          <a:prstGeom prst="rect">
            <a:avLst/>
          </a:prstGeom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6FC52D9B-47C2-4EAA-8DB5-43395E26DBB4}"/>
              </a:ext>
            </a:extLst>
          </p:cNvPr>
          <p:cNvSpPr/>
          <p:nvPr userDrawn="1"/>
        </p:nvSpPr>
        <p:spPr>
          <a:xfrm flipV="1">
            <a:off x="4254672" y="974079"/>
            <a:ext cx="2309711" cy="24670"/>
          </a:xfrm>
          <a:prstGeom prst="rect">
            <a:avLst/>
          </a:prstGeom>
          <a:solidFill>
            <a:srgbClr val="C1F5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62399F82-FDF5-44B3-AB68-40B731AE53A7}"/>
              </a:ext>
            </a:extLst>
          </p:cNvPr>
          <p:cNvSpPr/>
          <p:nvPr userDrawn="1"/>
        </p:nvSpPr>
        <p:spPr>
          <a:xfrm flipV="1">
            <a:off x="6928832" y="973831"/>
            <a:ext cx="2356136" cy="25166"/>
          </a:xfrm>
          <a:prstGeom prst="rect">
            <a:avLst/>
          </a:prstGeom>
          <a:solidFill>
            <a:srgbClr val="C1F5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3FD1AA6D-735E-4B64-BBDD-A29D04F7CA29}"/>
              </a:ext>
            </a:extLst>
          </p:cNvPr>
          <p:cNvSpPr/>
          <p:nvPr userDrawn="1"/>
        </p:nvSpPr>
        <p:spPr>
          <a:xfrm flipV="1">
            <a:off x="9630468" y="973831"/>
            <a:ext cx="2356136" cy="25166"/>
          </a:xfrm>
          <a:prstGeom prst="rect">
            <a:avLst/>
          </a:prstGeom>
          <a:solidFill>
            <a:srgbClr val="C1F5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BEE9102D-2FBA-4B3E-AAD0-DCD1D60CD488}"/>
              </a:ext>
            </a:extLst>
          </p:cNvPr>
          <p:cNvGrpSpPr/>
          <p:nvPr userDrawn="1"/>
        </p:nvGrpSpPr>
        <p:grpSpPr>
          <a:xfrm>
            <a:off x="5965074" y="6408183"/>
            <a:ext cx="261852" cy="261455"/>
            <a:chOff x="1830159" y="2890771"/>
            <a:chExt cx="588560" cy="587668"/>
          </a:xfrm>
          <a:solidFill>
            <a:schemeClr val="bg1"/>
          </a:solidFill>
        </p:grpSpPr>
        <p:sp>
          <p:nvSpPr>
            <p:cNvPr id="49" name="Rectangle 15">
              <a:extLst>
                <a:ext uri="{FF2B5EF4-FFF2-40B4-BE49-F238E27FC236}">
                  <a16:creationId xmlns:a16="http://schemas.microsoft.com/office/drawing/2014/main" id="{D346581F-C148-4EA1-B64A-67139EB93B13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Rectangle 15">
              <a:extLst>
                <a:ext uri="{FF2B5EF4-FFF2-40B4-BE49-F238E27FC236}">
                  <a16:creationId xmlns:a16="http://schemas.microsoft.com/office/drawing/2014/main" id="{894EDCC1-EFEC-4969-BD41-29EAED54FC03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1" name="Picture Placeholder 2">
            <a:extLst>
              <a:ext uri="{FF2B5EF4-FFF2-40B4-BE49-F238E27FC236}">
                <a16:creationId xmlns:a16="http://schemas.microsoft.com/office/drawing/2014/main" id="{C38D1B9A-398C-472D-B795-E12137DAD00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254500" y="4684713"/>
            <a:ext cx="2322513" cy="1222375"/>
          </a:xfrm>
          <a:pattFill prst="pct5">
            <a:fgClr>
              <a:srgbClr val="0D64EF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FontTx/>
              <a:buNone/>
              <a:defRPr>
                <a:solidFill>
                  <a:srgbClr val="191919"/>
                </a:solidFill>
              </a:defRPr>
            </a:lvl1pPr>
          </a:lstStyle>
          <a:p>
            <a:r>
              <a:rPr lang="en-US"/>
              <a:t>Click to add image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52" name="Picture Placeholder 2">
            <a:extLst>
              <a:ext uri="{FF2B5EF4-FFF2-40B4-BE49-F238E27FC236}">
                <a16:creationId xmlns:a16="http://schemas.microsoft.com/office/drawing/2014/main" id="{BAC4F838-A7B8-4365-8852-14B65A3154F6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961124" y="4684713"/>
            <a:ext cx="2322513" cy="1222375"/>
          </a:xfrm>
          <a:pattFill prst="pct5">
            <a:fgClr>
              <a:srgbClr val="0D64EF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FontTx/>
              <a:buNone/>
              <a:defRPr>
                <a:solidFill>
                  <a:srgbClr val="191919"/>
                </a:solidFill>
              </a:defRPr>
            </a:lvl1pPr>
          </a:lstStyle>
          <a:p>
            <a:r>
              <a:rPr lang="en-US"/>
              <a:t>Click to add image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53" name="Picture Placeholder 2">
            <a:extLst>
              <a:ext uri="{FF2B5EF4-FFF2-40B4-BE49-F238E27FC236}">
                <a16:creationId xmlns:a16="http://schemas.microsoft.com/office/drawing/2014/main" id="{DCE90A18-6C96-406D-B342-7A821B18C21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676892" y="4684713"/>
            <a:ext cx="2322513" cy="1222375"/>
          </a:xfrm>
          <a:pattFill prst="pct5">
            <a:fgClr>
              <a:srgbClr val="0D64EF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FontTx/>
              <a:buNone/>
              <a:defRPr>
                <a:solidFill>
                  <a:srgbClr val="191919"/>
                </a:solidFill>
              </a:defRPr>
            </a:lvl1pPr>
          </a:lstStyle>
          <a:p>
            <a:r>
              <a:rPr lang="en-US"/>
              <a:t>Click to add image</a:t>
            </a:r>
          </a:p>
          <a:p>
            <a:endParaRPr lang="en-US"/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236814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 Content 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7E86F5F-1E11-484A-A336-4A44B9910B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/>
          <a:lstStyle>
            <a:lvl1pPr>
              <a:defRPr cap="all" baseline="0"/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B83655-DE1E-1447-B3EC-C1C6B5B477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226219"/>
            <a:ext cx="10515600" cy="365125"/>
          </a:xfrm>
        </p:spPr>
        <p:txBody>
          <a:bodyPr lIns="0"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10C26C-3B29-6040-B88B-2CB45B896D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/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116BA80-7F6C-0842-BDB9-E5954AABC4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681038"/>
            <a:ext cx="10515600" cy="583740"/>
          </a:xfrm>
        </p:spPr>
        <p:txBody>
          <a:bodyPr>
            <a:noAutofit/>
          </a:bodyPr>
          <a:lstStyle>
            <a:lvl1pPr>
              <a:defRPr sz="3600" b="0"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021B6CA-65C1-EF49-87FE-855398DB00CF}"/>
              </a:ext>
            </a:extLst>
          </p:cNvPr>
          <p:cNvCxnSpPr>
            <a:cxnSpLocks/>
          </p:cNvCxnSpPr>
          <p:nvPr userDrawn="1"/>
        </p:nvCxnSpPr>
        <p:spPr>
          <a:xfrm>
            <a:off x="838199" y="6288108"/>
            <a:ext cx="10515599" cy="0"/>
          </a:xfrm>
          <a:prstGeom prst="line">
            <a:avLst/>
          </a:prstGeom>
          <a:ln w="19050">
            <a:solidFill>
              <a:srgbClr val="1919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6197FEE-709F-BD49-8161-5DE8BA920C23}"/>
              </a:ext>
            </a:extLst>
          </p:cNvPr>
          <p:cNvGrpSpPr/>
          <p:nvPr userDrawn="1"/>
        </p:nvGrpSpPr>
        <p:grpSpPr>
          <a:xfrm>
            <a:off x="5965074" y="6408183"/>
            <a:ext cx="261852" cy="261455"/>
            <a:chOff x="1830159" y="2890771"/>
            <a:chExt cx="588560" cy="587668"/>
          </a:xfrm>
          <a:solidFill>
            <a:srgbClr val="191919"/>
          </a:solidFill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AC693BE4-1A05-FF47-A0B7-78AEC10E557E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5">
              <a:extLst>
                <a:ext uri="{FF2B5EF4-FFF2-40B4-BE49-F238E27FC236}">
                  <a16:creationId xmlns:a16="http://schemas.microsoft.com/office/drawing/2014/main" id="{0C4C805E-3C78-E145-BD2F-7E3A334E1DEF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Oval 1">
            <a:extLst>
              <a:ext uri="{FF2B5EF4-FFF2-40B4-BE49-F238E27FC236}">
                <a16:creationId xmlns:a16="http://schemas.microsoft.com/office/drawing/2014/main" id="{BD0A8DB1-FABA-6544-9A4A-2969B8D86770}"/>
              </a:ext>
            </a:extLst>
          </p:cNvPr>
          <p:cNvSpPr/>
          <p:nvPr userDrawn="1"/>
        </p:nvSpPr>
        <p:spPr>
          <a:xfrm>
            <a:off x="829408" y="1703344"/>
            <a:ext cx="914688" cy="914688"/>
          </a:xfrm>
          <a:prstGeom prst="ellipse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8A9ACEF9-570B-4E43-BAB9-CEC24E050557}"/>
              </a:ext>
            </a:extLst>
          </p:cNvPr>
          <p:cNvSpPr/>
          <p:nvPr userDrawn="1"/>
        </p:nvSpPr>
        <p:spPr>
          <a:xfrm>
            <a:off x="4389735" y="1703344"/>
            <a:ext cx="914688" cy="914688"/>
          </a:xfrm>
          <a:prstGeom prst="ellipse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00A7EDA2-DEB6-D94F-A073-A16D2FBDBD8B}"/>
              </a:ext>
            </a:extLst>
          </p:cNvPr>
          <p:cNvSpPr/>
          <p:nvPr userDrawn="1"/>
        </p:nvSpPr>
        <p:spPr>
          <a:xfrm>
            <a:off x="7966860" y="1703344"/>
            <a:ext cx="914688" cy="914688"/>
          </a:xfrm>
          <a:prstGeom prst="ellipse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F5AD98BE-7AB1-1E4E-AAFF-B8E047B5203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38199" y="3459369"/>
            <a:ext cx="3365501" cy="2444158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800">
                <a:solidFill>
                  <a:srgbClr val="191919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B73DF4C0-49F6-2444-8E39-420E763E905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8200" y="2902595"/>
            <a:ext cx="3365502" cy="488533"/>
          </a:xfrm>
        </p:spPr>
        <p:txBody>
          <a:bodyPr anchor="t">
            <a:noAutofit/>
          </a:bodyPr>
          <a:lstStyle>
            <a:lvl1pPr marL="0" indent="0" algn="l">
              <a:buNone/>
              <a:defRPr sz="1800" b="1" cap="all" baseline="0">
                <a:solidFill>
                  <a:srgbClr val="0D64EF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9CD79276-7525-634A-88E5-83136DB1A763}"/>
              </a:ext>
            </a:extLst>
          </p:cNvPr>
          <p:cNvSpPr>
            <a:spLocks noGrp="1"/>
          </p:cNvSpPr>
          <p:nvPr>
            <p:ph type="body" sz="half" idx="34" hasCustomPrompt="1"/>
          </p:nvPr>
        </p:nvSpPr>
        <p:spPr>
          <a:xfrm>
            <a:off x="4398527" y="3459369"/>
            <a:ext cx="3365501" cy="2451881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800">
                <a:solidFill>
                  <a:srgbClr val="191919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356EBDED-6658-DF4D-A9D0-C853D80E1353}"/>
              </a:ext>
            </a:extLst>
          </p:cNvPr>
          <p:cNvSpPr>
            <a:spLocks noGrp="1"/>
          </p:cNvSpPr>
          <p:nvPr>
            <p:ph type="body" idx="35" hasCustomPrompt="1"/>
          </p:nvPr>
        </p:nvSpPr>
        <p:spPr>
          <a:xfrm>
            <a:off x="4398528" y="2910318"/>
            <a:ext cx="3365502" cy="480809"/>
          </a:xfrm>
        </p:spPr>
        <p:txBody>
          <a:bodyPr anchor="t">
            <a:noAutofit/>
          </a:bodyPr>
          <a:lstStyle>
            <a:lvl1pPr marL="0" indent="0" algn="l">
              <a:buNone/>
              <a:defRPr sz="1800" b="1" cap="all" baseline="0">
                <a:solidFill>
                  <a:srgbClr val="0D64EF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CA90CCE3-C2A6-C94A-BB66-FC5CF32D23DF}"/>
              </a:ext>
            </a:extLst>
          </p:cNvPr>
          <p:cNvSpPr>
            <a:spLocks noGrp="1"/>
          </p:cNvSpPr>
          <p:nvPr>
            <p:ph type="body" sz="half" idx="36" hasCustomPrompt="1"/>
          </p:nvPr>
        </p:nvSpPr>
        <p:spPr>
          <a:xfrm>
            <a:off x="7988297" y="3459368"/>
            <a:ext cx="3365501" cy="2440161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800">
                <a:solidFill>
                  <a:srgbClr val="191919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AB9404B-37A0-084F-8D74-F231FF6FA369}"/>
              </a:ext>
            </a:extLst>
          </p:cNvPr>
          <p:cNvSpPr>
            <a:spLocks noGrp="1"/>
          </p:cNvSpPr>
          <p:nvPr>
            <p:ph type="body" idx="37" hasCustomPrompt="1"/>
          </p:nvPr>
        </p:nvSpPr>
        <p:spPr>
          <a:xfrm>
            <a:off x="7988298" y="2898597"/>
            <a:ext cx="3365502" cy="492531"/>
          </a:xfrm>
        </p:spPr>
        <p:txBody>
          <a:bodyPr anchor="t">
            <a:noAutofit/>
          </a:bodyPr>
          <a:lstStyle>
            <a:lvl1pPr marL="0" indent="0" algn="l">
              <a:buNone/>
              <a:defRPr sz="1800" b="1" cap="all" baseline="0">
                <a:solidFill>
                  <a:srgbClr val="0D64EF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A3DF7C86-8291-40A7-B967-4D282E340D39}"/>
              </a:ext>
            </a:extLst>
          </p:cNvPr>
          <p:cNvSpPr/>
          <p:nvPr userDrawn="1"/>
        </p:nvSpPr>
        <p:spPr>
          <a:xfrm>
            <a:off x="912823" y="1786759"/>
            <a:ext cx="747858" cy="747858"/>
          </a:xfrm>
          <a:prstGeom prst="ellipse">
            <a:avLst/>
          </a:prstGeom>
          <a:solidFill>
            <a:srgbClr val="0D64EF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DF08DF1F-7390-42F2-B1C4-0F8E1914F4E7}"/>
              </a:ext>
            </a:extLst>
          </p:cNvPr>
          <p:cNvSpPr/>
          <p:nvPr userDrawn="1"/>
        </p:nvSpPr>
        <p:spPr>
          <a:xfrm>
            <a:off x="4473150" y="1786759"/>
            <a:ext cx="747858" cy="747858"/>
          </a:xfrm>
          <a:prstGeom prst="ellipse">
            <a:avLst/>
          </a:prstGeom>
          <a:solidFill>
            <a:srgbClr val="0D64EF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F4894E7F-BA6C-4AE4-B0C2-E37A6BA2B770}"/>
              </a:ext>
            </a:extLst>
          </p:cNvPr>
          <p:cNvSpPr/>
          <p:nvPr userDrawn="1"/>
        </p:nvSpPr>
        <p:spPr>
          <a:xfrm>
            <a:off x="8050718" y="1781190"/>
            <a:ext cx="747858" cy="747858"/>
          </a:xfrm>
          <a:prstGeom prst="ellipse">
            <a:avLst/>
          </a:prstGeom>
          <a:solidFill>
            <a:srgbClr val="0D64EF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285799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 Content 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7E86F5F-1E11-484A-A336-4A44B9910B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/>
          <a:lstStyle>
            <a:lvl1pPr>
              <a:defRPr cap="all" baseline="0"/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B83655-DE1E-1447-B3EC-C1C6B5B477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226219"/>
            <a:ext cx="10515600" cy="365125"/>
          </a:xfrm>
        </p:spPr>
        <p:txBody>
          <a:bodyPr lIns="0"/>
          <a:lstStyle>
            <a:lvl1pPr>
              <a:defRPr>
                <a:solidFill>
                  <a:srgbClr val="191919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10C26C-3B29-6040-B88B-2CB45B896D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/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116BA80-7F6C-0842-BDB9-E5954AABC4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681038"/>
            <a:ext cx="10515600" cy="583740"/>
          </a:xfrm>
        </p:spPr>
        <p:txBody>
          <a:bodyPr>
            <a:noAutofit/>
          </a:bodyPr>
          <a:lstStyle>
            <a:lvl1pPr>
              <a:defRPr sz="3600"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021B6CA-65C1-EF49-87FE-855398DB00CF}"/>
              </a:ext>
            </a:extLst>
          </p:cNvPr>
          <p:cNvCxnSpPr>
            <a:cxnSpLocks/>
          </p:cNvCxnSpPr>
          <p:nvPr userDrawn="1"/>
        </p:nvCxnSpPr>
        <p:spPr>
          <a:xfrm>
            <a:off x="838199" y="6288108"/>
            <a:ext cx="10515599" cy="0"/>
          </a:xfrm>
          <a:prstGeom prst="line">
            <a:avLst/>
          </a:prstGeom>
          <a:ln w="19050">
            <a:solidFill>
              <a:srgbClr val="1919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Oval 36">
            <a:extLst>
              <a:ext uri="{FF2B5EF4-FFF2-40B4-BE49-F238E27FC236}">
                <a16:creationId xmlns:a16="http://schemas.microsoft.com/office/drawing/2014/main" id="{C1048F3B-068C-3B4F-BA72-7AAEE3D8BAA4}"/>
              </a:ext>
            </a:extLst>
          </p:cNvPr>
          <p:cNvSpPr/>
          <p:nvPr userDrawn="1"/>
        </p:nvSpPr>
        <p:spPr>
          <a:xfrm>
            <a:off x="826226" y="3910476"/>
            <a:ext cx="914688" cy="914688"/>
          </a:xfrm>
          <a:prstGeom prst="ellipse">
            <a:avLst/>
          </a:prstGeom>
          <a:noFill/>
          <a:ln w="19050">
            <a:solidFill>
              <a:srgbClr val="19191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1300DFD3-F275-5640-B3A0-1C0A0BA2A124}"/>
              </a:ext>
            </a:extLst>
          </p:cNvPr>
          <p:cNvSpPr/>
          <p:nvPr userDrawn="1"/>
        </p:nvSpPr>
        <p:spPr>
          <a:xfrm>
            <a:off x="6407356" y="1701917"/>
            <a:ext cx="914688" cy="914688"/>
          </a:xfrm>
          <a:prstGeom prst="ellipse">
            <a:avLst/>
          </a:prstGeom>
          <a:noFill/>
          <a:ln w="19050">
            <a:solidFill>
              <a:srgbClr val="19191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B819CC89-03AE-5749-B209-375419D92EBB}"/>
              </a:ext>
            </a:extLst>
          </p:cNvPr>
          <p:cNvSpPr/>
          <p:nvPr userDrawn="1"/>
        </p:nvSpPr>
        <p:spPr>
          <a:xfrm>
            <a:off x="6407356" y="3910476"/>
            <a:ext cx="914688" cy="914688"/>
          </a:xfrm>
          <a:prstGeom prst="ellipse">
            <a:avLst/>
          </a:prstGeom>
          <a:noFill/>
          <a:ln w="19050">
            <a:solidFill>
              <a:srgbClr val="19191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643EB3D1-683C-214C-83E9-804EC131B7B2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910400" y="2366417"/>
            <a:ext cx="3823530" cy="1278409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800">
                <a:solidFill>
                  <a:srgbClr val="191919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B1F94C2C-2CC6-7C43-9A24-DEC56BA94C1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910400" y="1930460"/>
            <a:ext cx="3823531" cy="45058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 b="1" cap="all" baseline="0">
                <a:solidFill>
                  <a:srgbClr val="191919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FC36C6BB-CB40-E448-8B71-AE5F83E302DF}"/>
              </a:ext>
            </a:extLst>
          </p:cNvPr>
          <p:cNvSpPr>
            <a:spLocks noGrp="1"/>
          </p:cNvSpPr>
          <p:nvPr>
            <p:ph type="body" sz="half" idx="32" hasCustomPrompt="1"/>
          </p:nvPr>
        </p:nvSpPr>
        <p:spPr>
          <a:xfrm>
            <a:off x="1906722" y="4586819"/>
            <a:ext cx="3823530" cy="1278409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800">
                <a:solidFill>
                  <a:srgbClr val="191919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7F0057A3-F3C5-0642-B3CE-FD2B6C217C43}"/>
              </a:ext>
            </a:extLst>
          </p:cNvPr>
          <p:cNvSpPr>
            <a:spLocks noGrp="1"/>
          </p:cNvSpPr>
          <p:nvPr>
            <p:ph type="body" idx="33" hasCustomPrompt="1"/>
          </p:nvPr>
        </p:nvSpPr>
        <p:spPr>
          <a:xfrm>
            <a:off x="1906722" y="4133277"/>
            <a:ext cx="3823531" cy="447631"/>
          </a:xfrm>
        </p:spPr>
        <p:txBody>
          <a:bodyPr anchor="ctr">
            <a:noAutofit/>
          </a:bodyPr>
          <a:lstStyle>
            <a:lvl1pPr marL="0" indent="0" algn="l">
              <a:buNone/>
              <a:defRPr sz="1800" b="1" cap="all" baseline="0">
                <a:solidFill>
                  <a:srgbClr val="191919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4" name="Text Placeholder 3">
            <a:extLst>
              <a:ext uri="{FF2B5EF4-FFF2-40B4-BE49-F238E27FC236}">
                <a16:creationId xmlns:a16="http://schemas.microsoft.com/office/drawing/2014/main" id="{153F3B26-4E89-854D-81E8-72E689678921}"/>
              </a:ext>
            </a:extLst>
          </p:cNvPr>
          <p:cNvSpPr>
            <a:spLocks noGrp="1"/>
          </p:cNvSpPr>
          <p:nvPr>
            <p:ph type="body" sz="half" idx="34" hasCustomPrompt="1"/>
          </p:nvPr>
        </p:nvSpPr>
        <p:spPr>
          <a:xfrm>
            <a:off x="7515590" y="2366417"/>
            <a:ext cx="3823530" cy="1278409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800">
                <a:solidFill>
                  <a:srgbClr val="191919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2AC16707-9E89-284A-83E3-04300B76AA65}"/>
              </a:ext>
            </a:extLst>
          </p:cNvPr>
          <p:cNvSpPr>
            <a:spLocks noGrp="1"/>
          </p:cNvSpPr>
          <p:nvPr>
            <p:ph type="body" idx="35" hasCustomPrompt="1"/>
          </p:nvPr>
        </p:nvSpPr>
        <p:spPr>
          <a:xfrm>
            <a:off x="7515590" y="1930460"/>
            <a:ext cx="3823531" cy="450588"/>
          </a:xfrm>
        </p:spPr>
        <p:txBody>
          <a:bodyPr anchor="ctr">
            <a:noAutofit/>
          </a:bodyPr>
          <a:lstStyle>
            <a:lvl1pPr marL="0" indent="0" algn="l">
              <a:buNone/>
              <a:defRPr sz="1800" b="1" cap="all" baseline="0">
                <a:solidFill>
                  <a:srgbClr val="191919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AE8A6C82-BA24-3B40-AD1E-271F0312EA63}"/>
              </a:ext>
            </a:extLst>
          </p:cNvPr>
          <p:cNvSpPr>
            <a:spLocks noGrp="1"/>
          </p:cNvSpPr>
          <p:nvPr>
            <p:ph type="body" sz="half" idx="36" hasCustomPrompt="1"/>
          </p:nvPr>
        </p:nvSpPr>
        <p:spPr>
          <a:xfrm>
            <a:off x="7515590" y="4583866"/>
            <a:ext cx="3823530" cy="1278409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800">
                <a:solidFill>
                  <a:srgbClr val="191919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D8BA587C-16B9-A14F-BB03-D5ACD1E8EE1B}"/>
              </a:ext>
            </a:extLst>
          </p:cNvPr>
          <p:cNvSpPr>
            <a:spLocks noGrp="1"/>
          </p:cNvSpPr>
          <p:nvPr>
            <p:ph type="body" idx="37" hasCustomPrompt="1"/>
          </p:nvPr>
        </p:nvSpPr>
        <p:spPr>
          <a:xfrm>
            <a:off x="7515590" y="4130324"/>
            <a:ext cx="3823531" cy="450585"/>
          </a:xfrm>
        </p:spPr>
        <p:txBody>
          <a:bodyPr anchor="ctr">
            <a:noAutofit/>
          </a:bodyPr>
          <a:lstStyle>
            <a:lvl1pPr marL="0" indent="0" algn="l">
              <a:buNone/>
              <a:defRPr sz="1800" b="1" cap="all" baseline="0">
                <a:solidFill>
                  <a:srgbClr val="191919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4DBB82AE-7084-4AB5-A95C-168D27EDC6B5}"/>
              </a:ext>
            </a:extLst>
          </p:cNvPr>
          <p:cNvSpPr/>
          <p:nvPr userDrawn="1"/>
        </p:nvSpPr>
        <p:spPr>
          <a:xfrm>
            <a:off x="6489053" y="1781190"/>
            <a:ext cx="747858" cy="747858"/>
          </a:xfrm>
          <a:prstGeom prst="ellipse">
            <a:avLst/>
          </a:prstGeom>
          <a:solidFill>
            <a:srgbClr val="0D64EF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FCEE0DA5-813B-43F9-BEF5-E790D373A0E6}"/>
              </a:ext>
            </a:extLst>
          </p:cNvPr>
          <p:cNvSpPr/>
          <p:nvPr userDrawn="1"/>
        </p:nvSpPr>
        <p:spPr>
          <a:xfrm>
            <a:off x="6489053" y="3993891"/>
            <a:ext cx="747858" cy="747858"/>
          </a:xfrm>
          <a:prstGeom prst="ellipse">
            <a:avLst/>
          </a:prstGeom>
          <a:solidFill>
            <a:srgbClr val="0D64EF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257534E8-8507-4FDF-AF51-43F5924FBF62}"/>
              </a:ext>
            </a:extLst>
          </p:cNvPr>
          <p:cNvSpPr/>
          <p:nvPr userDrawn="1"/>
        </p:nvSpPr>
        <p:spPr>
          <a:xfrm>
            <a:off x="909323" y="3988322"/>
            <a:ext cx="747858" cy="747858"/>
          </a:xfrm>
          <a:prstGeom prst="ellipse">
            <a:avLst/>
          </a:prstGeom>
          <a:solidFill>
            <a:srgbClr val="0D64EF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A745490E-0F7B-45C3-8EF6-4890BA44FC56}"/>
              </a:ext>
            </a:extLst>
          </p:cNvPr>
          <p:cNvSpPr/>
          <p:nvPr userDrawn="1"/>
        </p:nvSpPr>
        <p:spPr>
          <a:xfrm>
            <a:off x="829408" y="1703344"/>
            <a:ext cx="914688" cy="914688"/>
          </a:xfrm>
          <a:prstGeom prst="ellipse">
            <a:avLst/>
          </a:prstGeom>
          <a:noFill/>
          <a:ln w="19050">
            <a:solidFill>
              <a:srgbClr val="19191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AC45C857-B4F2-45D7-8037-995462339A65}"/>
              </a:ext>
            </a:extLst>
          </p:cNvPr>
          <p:cNvSpPr/>
          <p:nvPr userDrawn="1"/>
        </p:nvSpPr>
        <p:spPr>
          <a:xfrm>
            <a:off x="912823" y="1786759"/>
            <a:ext cx="747858" cy="747858"/>
          </a:xfrm>
          <a:prstGeom prst="ellipse">
            <a:avLst/>
          </a:prstGeom>
          <a:solidFill>
            <a:srgbClr val="0D64EF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CAA958E7-3657-43F0-B176-2A55D2A6FDD5}"/>
              </a:ext>
            </a:extLst>
          </p:cNvPr>
          <p:cNvGrpSpPr/>
          <p:nvPr userDrawn="1"/>
        </p:nvGrpSpPr>
        <p:grpSpPr>
          <a:xfrm>
            <a:off x="5965074" y="6408183"/>
            <a:ext cx="261852" cy="261455"/>
            <a:chOff x="1830159" y="2890771"/>
            <a:chExt cx="588560" cy="587668"/>
          </a:xfrm>
          <a:solidFill>
            <a:srgbClr val="191919"/>
          </a:solidFill>
        </p:grpSpPr>
        <p:sp>
          <p:nvSpPr>
            <p:cNvPr id="36" name="Rectangle 15">
              <a:extLst>
                <a:ext uri="{FF2B5EF4-FFF2-40B4-BE49-F238E27FC236}">
                  <a16:creationId xmlns:a16="http://schemas.microsoft.com/office/drawing/2014/main" id="{1C8B4994-350B-420B-83E0-497D9F7C14D6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Rectangle 15">
              <a:extLst>
                <a:ext uri="{FF2B5EF4-FFF2-40B4-BE49-F238E27FC236}">
                  <a16:creationId xmlns:a16="http://schemas.microsoft.com/office/drawing/2014/main" id="{986C536E-E1CD-483D-86B3-4156EF2538D1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63997985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 Content 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7E86F5F-1E11-484A-A336-4A44B9910B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/>
          <a:lstStyle>
            <a:lvl1pPr>
              <a:defRPr cap="all" baseline="0"/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B83655-DE1E-1447-B3EC-C1C6B5B477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226219"/>
            <a:ext cx="10515600" cy="365125"/>
          </a:xfrm>
        </p:spPr>
        <p:txBody>
          <a:bodyPr lIns="0"/>
          <a:lstStyle>
            <a:lvl1pPr>
              <a:defRPr>
                <a:solidFill>
                  <a:srgbClr val="191919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10C26C-3B29-6040-B88B-2CB45B896D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/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116BA80-7F6C-0842-BDB9-E5954AABC4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681038"/>
            <a:ext cx="10515600" cy="583740"/>
          </a:xfrm>
        </p:spPr>
        <p:txBody>
          <a:bodyPr>
            <a:noAutofit/>
          </a:bodyPr>
          <a:lstStyle>
            <a:lvl1pPr>
              <a:defRPr sz="3600"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021B6CA-65C1-EF49-87FE-855398DB00CF}"/>
              </a:ext>
            </a:extLst>
          </p:cNvPr>
          <p:cNvCxnSpPr>
            <a:cxnSpLocks/>
          </p:cNvCxnSpPr>
          <p:nvPr userDrawn="1"/>
        </p:nvCxnSpPr>
        <p:spPr>
          <a:xfrm>
            <a:off x="838199" y="6288108"/>
            <a:ext cx="10515599" cy="0"/>
          </a:xfrm>
          <a:prstGeom prst="line">
            <a:avLst/>
          </a:prstGeom>
          <a:ln w="19050">
            <a:solidFill>
              <a:srgbClr val="1919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Picture Placeholder 7">
            <a:extLst>
              <a:ext uri="{FF2B5EF4-FFF2-40B4-BE49-F238E27FC236}">
                <a16:creationId xmlns:a16="http://schemas.microsoft.com/office/drawing/2014/main" id="{9E2E5187-D72C-4D44-927E-B74BA81BB2D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904314" y="1621859"/>
            <a:ext cx="2062237" cy="2062237"/>
          </a:xfrm>
          <a:prstGeom prst="ellipse">
            <a:avLst/>
          </a:prstGeom>
          <a:pattFill prst="pct5">
            <a:fgClr>
              <a:schemeClr val="accent1"/>
            </a:fgClr>
            <a:bgClr>
              <a:schemeClr val="bg1">
                <a:lumMod val="95000"/>
              </a:schemeClr>
            </a:bgClr>
          </a:patt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5DEF2987-0F36-434D-812F-154409413E6A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9291563" y="1621859"/>
            <a:ext cx="2062237" cy="2062237"/>
          </a:xfrm>
          <a:prstGeom prst="ellipse">
            <a:avLst/>
          </a:prstGeom>
          <a:pattFill prst="pct5">
            <a:fgClr>
              <a:schemeClr val="accent1"/>
            </a:fgClr>
            <a:bgClr>
              <a:schemeClr val="bg1">
                <a:lumMod val="95000"/>
              </a:schemeClr>
            </a:bgClr>
          </a:patt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0F96AFE7-9B52-FA43-A998-D8F4792C62F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12718" y="4505229"/>
            <a:ext cx="5740022" cy="1350928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800">
                <a:solidFill>
                  <a:srgbClr val="191919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E703B34D-B0D7-9247-BEA8-49C1F736013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612718" y="4041177"/>
            <a:ext cx="5740023" cy="453539"/>
          </a:xfrm>
        </p:spPr>
        <p:txBody>
          <a:bodyPr anchor="t">
            <a:noAutofit/>
          </a:bodyPr>
          <a:lstStyle>
            <a:lvl1pPr marL="0" indent="0" algn="l">
              <a:buNone/>
              <a:defRPr sz="1800" b="1" cap="all" baseline="0">
                <a:solidFill>
                  <a:srgbClr val="191919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7" name="Picture Placeholder 7">
            <a:extLst>
              <a:ext uri="{FF2B5EF4-FFF2-40B4-BE49-F238E27FC236}">
                <a16:creationId xmlns:a16="http://schemas.microsoft.com/office/drawing/2014/main" id="{223550B9-08A1-7F47-8832-449EC89689E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09374" y="3973767"/>
            <a:ext cx="2062237" cy="2062237"/>
          </a:xfrm>
          <a:prstGeom prst="ellipse">
            <a:avLst/>
          </a:prstGeom>
          <a:pattFill prst="pct5">
            <a:fgClr>
              <a:schemeClr val="accent1"/>
            </a:fgClr>
            <a:bgClr>
              <a:schemeClr val="bg1">
                <a:lumMod val="95000"/>
              </a:schemeClr>
            </a:bgClr>
          </a:patt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3B17EF55-C7BA-024B-962E-CAD82B968077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3195564" y="3973767"/>
            <a:ext cx="2062237" cy="2062237"/>
          </a:xfrm>
          <a:prstGeom prst="ellipse">
            <a:avLst/>
          </a:prstGeom>
          <a:pattFill prst="pct5">
            <a:fgClr>
              <a:schemeClr val="accent1"/>
            </a:fgClr>
            <a:bgClr>
              <a:schemeClr val="bg1">
                <a:lumMod val="95000"/>
              </a:schemeClr>
            </a:bgClr>
          </a:patt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1A49144A-E970-DE44-9939-861859521627}"/>
              </a:ext>
            </a:extLst>
          </p:cNvPr>
          <p:cNvSpPr>
            <a:spLocks noGrp="1"/>
          </p:cNvSpPr>
          <p:nvPr>
            <p:ph type="body" sz="half" idx="30" hasCustomPrompt="1"/>
          </p:nvPr>
        </p:nvSpPr>
        <p:spPr>
          <a:xfrm>
            <a:off x="809374" y="2136567"/>
            <a:ext cx="5740022" cy="1350928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800">
                <a:solidFill>
                  <a:srgbClr val="191919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FD48AD12-5C44-9F45-9963-B0E0CAE9EE57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809374" y="1683025"/>
            <a:ext cx="5740023" cy="453541"/>
          </a:xfrm>
        </p:spPr>
        <p:txBody>
          <a:bodyPr anchor="t">
            <a:noAutofit/>
          </a:bodyPr>
          <a:lstStyle>
            <a:lvl1pPr marL="0" indent="0" algn="l">
              <a:buNone/>
              <a:defRPr sz="1800" b="1" cap="all" baseline="0">
                <a:solidFill>
                  <a:srgbClr val="191919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29C0638-0140-436E-8C67-7C3594AD69F2}"/>
              </a:ext>
            </a:extLst>
          </p:cNvPr>
          <p:cNvGrpSpPr/>
          <p:nvPr userDrawn="1"/>
        </p:nvGrpSpPr>
        <p:grpSpPr>
          <a:xfrm>
            <a:off x="5965074" y="6408183"/>
            <a:ext cx="261852" cy="261455"/>
            <a:chOff x="1830159" y="2890771"/>
            <a:chExt cx="588560" cy="587668"/>
          </a:xfrm>
          <a:solidFill>
            <a:srgbClr val="191919"/>
          </a:solidFill>
        </p:grpSpPr>
        <p:sp>
          <p:nvSpPr>
            <p:cNvPr id="25" name="Rectangle 15">
              <a:extLst>
                <a:ext uri="{FF2B5EF4-FFF2-40B4-BE49-F238E27FC236}">
                  <a16:creationId xmlns:a16="http://schemas.microsoft.com/office/drawing/2014/main" id="{F1E518E6-20A8-40A6-91B3-35C2CB6EC929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tangle 15">
              <a:extLst>
                <a:ext uri="{FF2B5EF4-FFF2-40B4-BE49-F238E27FC236}">
                  <a16:creationId xmlns:a16="http://schemas.microsoft.com/office/drawing/2014/main" id="{612BE836-3089-4777-8ABC-ADFF6973607E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11532823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 Content 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5CEACD7-1ED8-4DD8-AD44-AD0B12A3F8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7975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5CEACD7-1ED8-4DD8-AD44-AD0B12A3F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8848CE56-AF73-134F-BA68-4672A2F0D86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"/>
            <a:ext cx="12192000" cy="3428999"/>
          </a:xfrm>
          <a:pattFill prst="pct5">
            <a:fgClr>
              <a:srgbClr val="0D64EF"/>
            </a:fgClr>
            <a:bgClr>
              <a:schemeClr val="bg1">
                <a:lumMod val="95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1DDD94-83AE-854D-AA85-D405490CA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/>
          <a:lstStyle>
            <a:lvl1pPr>
              <a:defRPr cap="all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868D98-9614-6F4D-9879-BC271C28C5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11184" y="226219"/>
            <a:ext cx="4746625" cy="365125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BEB37E4-4D89-CE41-8224-1E192C26CA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4191" y="221061"/>
            <a:ext cx="2986878" cy="2986878"/>
          </a:xfrm>
          <a:prstGeom prst="ellipse">
            <a:avLst/>
          </a:prstGeom>
          <a:blipFill dpi="0" rotWithShape="1">
            <a:blip r:embed="rId5"/>
            <a:srcRect/>
            <a:stretch>
              <a:fillRect l="-6000"/>
            </a:stretch>
          </a:blipFill>
          <a:ln w="38100">
            <a:solidFill>
              <a:srgbClr val="191919"/>
            </a:solidFill>
          </a:ln>
        </p:spPr>
        <p:txBody>
          <a:bodyPr vert="horz" lIns="72000" tIns="72000" rIns="72000" bIns="72000" anchor="ctr">
            <a:noAutofit/>
          </a:bodyPr>
          <a:lstStyle>
            <a:lvl1pPr algn="l">
              <a:defRPr sz="36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C9977816-B923-9149-9267-7247F55E293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8200" y="3724760"/>
            <a:ext cx="3365502" cy="608092"/>
          </a:xfrm>
        </p:spPr>
        <p:txBody>
          <a:bodyPr anchor="ctr">
            <a:noAutofit/>
          </a:bodyPr>
          <a:lstStyle>
            <a:lvl1pPr marL="0" indent="0" algn="l">
              <a:buNone/>
              <a:defRPr sz="2000" b="1" cap="all" baseline="0">
                <a:solidFill>
                  <a:srgbClr val="191919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8E605B10-FB47-C048-BE71-E51E82729367}"/>
              </a:ext>
            </a:extLst>
          </p:cNvPr>
          <p:cNvSpPr>
            <a:spLocks noGrp="1"/>
          </p:cNvSpPr>
          <p:nvPr>
            <p:ph type="body" sz="half" idx="34" hasCustomPrompt="1"/>
          </p:nvPr>
        </p:nvSpPr>
        <p:spPr>
          <a:xfrm>
            <a:off x="4398527" y="4356271"/>
            <a:ext cx="3365501" cy="1665949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800">
                <a:solidFill>
                  <a:srgbClr val="191919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82052B3F-EF8B-DC42-89B0-E3D19F939D58}"/>
              </a:ext>
            </a:extLst>
          </p:cNvPr>
          <p:cNvSpPr>
            <a:spLocks noGrp="1"/>
          </p:cNvSpPr>
          <p:nvPr>
            <p:ph type="body" idx="35" hasCustomPrompt="1"/>
          </p:nvPr>
        </p:nvSpPr>
        <p:spPr>
          <a:xfrm>
            <a:off x="4398528" y="3724759"/>
            <a:ext cx="3365502" cy="608085"/>
          </a:xfrm>
        </p:spPr>
        <p:txBody>
          <a:bodyPr anchor="ctr">
            <a:noAutofit/>
          </a:bodyPr>
          <a:lstStyle>
            <a:lvl1pPr marL="0" indent="0" algn="l">
              <a:buNone/>
              <a:defRPr sz="2000" b="1" cap="all" baseline="0">
                <a:solidFill>
                  <a:srgbClr val="191919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FE3D2B0-375A-CF4A-8B6A-ACB9AB289257}"/>
              </a:ext>
            </a:extLst>
          </p:cNvPr>
          <p:cNvSpPr>
            <a:spLocks noGrp="1"/>
          </p:cNvSpPr>
          <p:nvPr>
            <p:ph type="body" sz="half" idx="36" hasCustomPrompt="1"/>
          </p:nvPr>
        </p:nvSpPr>
        <p:spPr>
          <a:xfrm>
            <a:off x="7988297" y="4356271"/>
            <a:ext cx="3365501" cy="1665949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800">
                <a:solidFill>
                  <a:srgbClr val="191919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BF53BC0-37B0-754B-A593-54C7B7CFC38D}"/>
              </a:ext>
            </a:extLst>
          </p:cNvPr>
          <p:cNvSpPr>
            <a:spLocks noGrp="1"/>
          </p:cNvSpPr>
          <p:nvPr>
            <p:ph type="body" idx="37" hasCustomPrompt="1"/>
          </p:nvPr>
        </p:nvSpPr>
        <p:spPr>
          <a:xfrm>
            <a:off x="7988298" y="3724760"/>
            <a:ext cx="3365502" cy="608083"/>
          </a:xfrm>
        </p:spPr>
        <p:txBody>
          <a:bodyPr anchor="ctr">
            <a:noAutofit/>
          </a:bodyPr>
          <a:lstStyle>
            <a:lvl1pPr marL="0" indent="0" algn="l">
              <a:buNone/>
              <a:defRPr sz="2000" b="1" cap="all" baseline="0">
                <a:solidFill>
                  <a:srgbClr val="191919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8A329E2-BC3F-1B4D-8EBC-BE5D856BBB4E}"/>
              </a:ext>
            </a:extLst>
          </p:cNvPr>
          <p:cNvCxnSpPr>
            <a:cxnSpLocks/>
          </p:cNvCxnSpPr>
          <p:nvPr userDrawn="1"/>
        </p:nvCxnSpPr>
        <p:spPr>
          <a:xfrm>
            <a:off x="838199" y="6288108"/>
            <a:ext cx="10515599" cy="0"/>
          </a:xfrm>
          <a:prstGeom prst="line">
            <a:avLst/>
          </a:prstGeom>
          <a:ln w="19050">
            <a:solidFill>
              <a:srgbClr val="1919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Slide Number Placeholder 6">
            <a:extLst>
              <a:ext uri="{FF2B5EF4-FFF2-40B4-BE49-F238E27FC236}">
                <a16:creationId xmlns:a16="http://schemas.microsoft.com/office/drawing/2014/main" id="{15922813-49EB-4CC9-9849-6FFC780B31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34603" y="6356349"/>
            <a:ext cx="519195" cy="365125"/>
          </a:xfrm>
        </p:spPr>
        <p:txBody>
          <a:bodyPr/>
          <a:lstStyle>
            <a:lvl1pPr algn="r">
              <a:defRPr/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FCF008C0-F36B-4B73-B3BD-2A5BA34A35F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2700000">
            <a:off x="2032323" y="613910"/>
            <a:ext cx="381068" cy="381068"/>
          </a:xfrm>
          <a:prstGeom prst="rect">
            <a:avLst/>
          </a:prstGeom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4F37EE56-D2DA-4EBC-8D8B-FABC245794A7}"/>
              </a:ext>
            </a:extLst>
          </p:cNvPr>
          <p:cNvGrpSpPr/>
          <p:nvPr userDrawn="1"/>
        </p:nvGrpSpPr>
        <p:grpSpPr>
          <a:xfrm>
            <a:off x="5965074" y="6408183"/>
            <a:ext cx="261852" cy="261455"/>
            <a:chOff x="1830159" y="2890771"/>
            <a:chExt cx="588560" cy="587668"/>
          </a:xfrm>
          <a:solidFill>
            <a:srgbClr val="191919"/>
          </a:solidFill>
        </p:grpSpPr>
        <p:sp>
          <p:nvSpPr>
            <p:cNvPr id="32" name="Rectangle 15">
              <a:extLst>
                <a:ext uri="{FF2B5EF4-FFF2-40B4-BE49-F238E27FC236}">
                  <a16:creationId xmlns:a16="http://schemas.microsoft.com/office/drawing/2014/main" id="{1DDDBBDC-1006-405D-B50A-2B5D03888A0D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tangle 15">
              <a:extLst>
                <a:ext uri="{FF2B5EF4-FFF2-40B4-BE49-F238E27FC236}">
                  <a16:creationId xmlns:a16="http://schemas.microsoft.com/office/drawing/2014/main" id="{E5D6B10D-C458-4444-A029-DE2AB56B6C75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80689347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ature Content Q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274F239-824F-413D-8AE2-72C88B27E3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2094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274F239-824F-413D-8AE2-72C88B27E3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00D739BB-8C51-41F4-B480-EA5F2FFDAEA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519798" y="3077267"/>
            <a:ext cx="5314708" cy="3327970"/>
          </a:xfrm>
          <a:custGeom>
            <a:avLst/>
            <a:gdLst>
              <a:gd name="connsiteX0" fmla="*/ 0 w 5530506"/>
              <a:gd name="connsiteY0" fmla="*/ 0 h 3463099"/>
              <a:gd name="connsiteX1" fmla="*/ 2750921 w 5530506"/>
              <a:gd name="connsiteY1" fmla="*/ 0 h 3463099"/>
              <a:gd name="connsiteX2" fmla="*/ 2750921 w 5530506"/>
              <a:gd name="connsiteY2" fmla="*/ 331035 h 3463099"/>
              <a:gd name="connsiteX3" fmla="*/ 2747989 w 5530506"/>
              <a:gd name="connsiteY3" fmla="*/ 331035 h 3463099"/>
              <a:gd name="connsiteX4" fmla="*/ 2747989 w 5530506"/>
              <a:gd name="connsiteY4" fmla="*/ 586747 h 3463099"/>
              <a:gd name="connsiteX5" fmla="*/ 5530506 w 5530506"/>
              <a:gd name="connsiteY5" fmla="*/ 586747 h 3463099"/>
              <a:gd name="connsiteX6" fmla="*/ 5530506 w 5530506"/>
              <a:gd name="connsiteY6" fmla="*/ 3463099 h 3463099"/>
              <a:gd name="connsiteX7" fmla="*/ 0 w 5530506"/>
              <a:gd name="connsiteY7" fmla="*/ 3463099 h 3463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30506" h="3463099">
                <a:moveTo>
                  <a:pt x="0" y="0"/>
                </a:moveTo>
                <a:lnTo>
                  <a:pt x="2750921" y="0"/>
                </a:lnTo>
                <a:lnTo>
                  <a:pt x="2750921" y="331035"/>
                </a:lnTo>
                <a:lnTo>
                  <a:pt x="2747989" y="331035"/>
                </a:lnTo>
                <a:lnTo>
                  <a:pt x="2747989" y="586747"/>
                </a:lnTo>
                <a:lnTo>
                  <a:pt x="5530506" y="586747"/>
                </a:lnTo>
                <a:lnTo>
                  <a:pt x="5530506" y="3463099"/>
                </a:lnTo>
                <a:lnTo>
                  <a:pt x="0" y="3463099"/>
                </a:lnTo>
                <a:close/>
              </a:path>
            </a:pathLst>
          </a:custGeom>
          <a:pattFill prst="pct5">
            <a:fgClr>
              <a:srgbClr val="0D64EF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BDF4F8D9-6301-44FC-BD4C-44864527AA0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519798" y="211092"/>
            <a:ext cx="5314708" cy="3328859"/>
          </a:xfrm>
          <a:custGeom>
            <a:avLst/>
            <a:gdLst>
              <a:gd name="connsiteX0" fmla="*/ 0 w 5530506"/>
              <a:gd name="connsiteY0" fmla="*/ 0 h 3464024"/>
              <a:gd name="connsiteX1" fmla="*/ 5530506 w 5530506"/>
              <a:gd name="connsiteY1" fmla="*/ 0 h 3464024"/>
              <a:gd name="connsiteX2" fmla="*/ 5530506 w 5530506"/>
              <a:gd name="connsiteY2" fmla="*/ 3464024 h 3464024"/>
              <a:gd name="connsiteX3" fmla="*/ 2847030 w 5530506"/>
              <a:gd name="connsiteY3" fmla="*/ 3464024 h 3464024"/>
              <a:gd name="connsiteX4" fmla="*/ 2847030 w 5530506"/>
              <a:gd name="connsiteY4" fmla="*/ 3153921 h 3464024"/>
              <a:gd name="connsiteX5" fmla="*/ 2847023 w 5530506"/>
              <a:gd name="connsiteY5" fmla="*/ 3153921 h 3464024"/>
              <a:gd name="connsiteX6" fmla="*/ 2847023 w 5530506"/>
              <a:gd name="connsiteY6" fmla="*/ 2876743 h 3464024"/>
              <a:gd name="connsiteX7" fmla="*/ 0 w 5530506"/>
              <a:gd name="connsiteY7" fmla="*/ 2876743 h 3464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30506" h="3464024">
                <a:moveTo>
                  <a:pt x="0" y="0"/>
                </a:moveTo>
                <a:lnTo>
                  <a:pt x="5530506" y="0"/>
                </a:lnTo>
                <a:lnTo>
                  <a:pt x="5530506" y="3464024"/>
                </a:lnTo>
                <a:lnTo>
                  <a:pt x="2847030" y="3464024"/>
                </a:lnTo>
                <a:lnTo>
                  <a:pt x="2847030" y="3153921"/>
                </a:lnTo>
                <a:lnTo>
                  <a:pt x="2847023" y="3153921"/>
                </a:lnTo>
                <a:lnTo>
                  <a:pt x="2847023" y="2876743"/>
                </a:lnTo>
                <a:lnTo>
                  <a:pt x="0" y="2876743"/>
                </a:lnTo>
                <a:close/>
              </a:path>
            </a:pathLst>
          </a:custGeom>
          <a:pattFill prst="pct5">
            <a:fgClr>
              <a:srgbClr val="0D64EF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8C7F0179-EA15-400C-AECC-8EA8971FCD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7488" y="1230515"/>
            <a:ext cx="4152408" cy="1846752"/>
          </a:xfrm>
        </p:spPr>
        <p:txBody>
          <a:bodyPr vert="horz"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0424F71C-E394-4593-858C-4C3017E454EE}"/>
              </a:ext>
            </a:extLst>
          </p:cNvPr>
          <p:cNvSpPr>
            <a:spLocks noGrp="1"/>
          </p:cNvSpPr>
          <p:nvPr>
            <p:ph type="body" sz="half" idx="15" hasCustomPrompt="1"/>
          </p:nvPr>
        </p:nvSpPr>
        <p:spPr>
          <a:xfrm>
            <a:off x="837487" y="3429000"/>
            <a:ext cx="4152409" cy="2510327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3F3A975A-3F75-4B2C-B411-BD5AE44053CA}"/>
              </a:ext>
            </a:extLst>
          </p:cNvPr>
          <p:cNvCxnSpPr>
            <a:cxnSpLocks/>
          </p:cNvCxnSpPr>
          <p:nvPr userDrawn="1"/>
        </p:nvCxnSpPr>
        <p:spPr>
          <a:xfrm>
            <a:off x="838199" y="6291060"/>
            <a:ext cx="4151675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up 27">
            <a:extLst>
              <a:ext uri="{FF2B5EF4-FFF2-40B4-BE49-F238E27FC236}">
                <a16:creationId xmlns:a16="http://schemas.microsoft.com/office/drawing/2014/main" id="{FC11662C-D6E6-44BE-9018-67E583A3CBEC}"/>
              </a:ext>
            </a:extLst>
          </p:cNvPr>
          <p:cNvGrpSpPr/>
          <p:nvPr userDrawn="1"/>
        </p:nvGrpSpPr>
        <p:grpSpPr>
          <a:xfrm>
            <a:off x="5965074" y="6408183"/>
            <a:ext cx="261852" cy="261455"/>
            <a:chOff x="1830159" y="2890771"/>
            <a:chExt cx="588560" cy="587668"/>
          </a:xfrm>
          <a:solidFill>
            <a:schemeClr val="bg1"/>
          </a:solidFill>
        </p:grpSpPr>
        <p:sp>
          <p:nvSpPr>
            <p:cNvPr id="29" name="Rectangle 15">
              <a:extLst>
                <a:ext uri="{FF2B5EF4-FFF2-40B4-BE49-F238E27FC236}">
                  <a16:creationId xmlns:a16="http://schemas.microsoft.com/office/drawing/2014/main" id="{8A8C77C6-CDD2-4137-BB59-2214BA4C4229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tangle 15">
              <a:extLst>
                <a:ext uri="{FF2B5EF4-FFF2-40B4-BE49-F238E27FC236}">
                  <a16:creationId xmlns:a16="http://schemas.microsoft.com/office/drawing/2014/main" id="{59CF9D40-C9B0-475E-A695-3ABDBAFE354F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1" name="Footer Placeholder 4">
            <a:extLst>
              <a:ext uri="{FF2B5EF4-FFF2-40B4-BE49-F238E27FC236}">
                <a16:creationId xmlns:a16="http://schemas.microsoft.com/office/drawing/2014/main" id="{7CA181E0-F24D-4836-ADAE-A87834904F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226219"/>
            <a:ext cx="4531468" cy="365125"/>
          </a:xfrm>
        </p:spPr>
        <p:txBody>
          <a:bodyPr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32" name="Date Placeholder 3">
            <a:extLst>
              <a:ext uri="{FF2B5EF4-FFF2-40B4-BE49-F238E27FC236}">
                <a16:creationId xmlns:a16="http://schemas.microsoft.com/office/drawing/2014/main" id="{36C460DB-90F9-4072-8156-41E4FE9E72F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4151674" cy="365125"/>
          </a:xfrm>
        </p:spPr>
        <p:txBody>
          <a:bodyPr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33" name="Slide Number Placeholder 6">
            <a:extLst>
              <a:ext uri="{FF2B5EF4-FFF2-40B4-BE49-F238E27FC236}">
                <a16:creationId xmlns:a16="http://schemas.microsoft.com/office/drawing/2014/main" id="{01C9822E-9766-4410-AEF0-FF87D3DCFE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34603" y="6356349"/>
            <a:ext cx="519195" cy="365125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816149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31FA4135-C07B-460B-9198-7717D37005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6690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31FA4135-C07B-460B-9198-7717D37005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AB858F30-7D73-7A45-A939-DB6E23CDC9BA}"/>
              </a:ext>
            </a:extLst>
          </p:cNvPr>
          <p:cNvCxnSpPr/>
          <p:nvPr userDrawn="1"/>
        </p:nvCxnSpPr>
        <p:spPr>
          <a:xfrm>
            <a:off x="0" y="3323900"/>
            <a:ext cx="12192000" cy="0"/>
          </a:xfrm>
          <a:prstGeom prst="line">
            <a:avLst/>
          </a:prstGeom>
          <a:ln w="38100">
            <a:solidFill>
              <a:srgbClr val="1919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6F271AAC-C994-7A46-AB6B-5736DEFF057E}"/>
              </a:ext>
            </a:extLst>
          </p:cNvPr>
          <p:cNvSpPr/>
          <p:nvPr userDrawn="1"/>
        </p:nvSpPr>
        <p:spPr>
          <a:xfrm>
            <a:off x="-1" y="0"/>
            <a:ext cx="5709067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F8F25C7-9EBD-486D-BF34-49F492DD32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-49" r="53223"/>
          <a:stretch/>
        </p:blipFill>
        <p:spPr>
          <a:xfrm>
            <a:off x="0" y="0"/>
            <a:ext cx="5709066" cy="6858000"/>
          </a:xfrm>
          <a:prstGeom prst="rect">
            <a:avLst/>
          </a:prstGeom>
        </p:spPr>
      </p:pic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2DA83AF7-2D70-594C-A153-8F63748F1B8E}"/>
              </a:ext>
            </a:extLst>
          </p:cNvPr>
          <p:cNvSpPr>
            <a:spLocks noGrp="1"/>
          </p:cNvSpPr>
          <p:nvPr>
            <p:ph type="body" sz="half" idx="22" hasCustomPrompt="1"/>
          </p:nvPr>
        </p:nvSpPr>
        <p:spPr>
          <a:xfrm>
            <a:off x="6284938" y="4856159"/>
            <a:ext cx="2520000" cy="1236633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rgbClr val="191919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8DE876D7-9EE1-BC4D-89F6-5EDB6DF8DD26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6281834" y="1230515"/>
            <a:ext cx="2520000" cy="771324"/>
          </a:xfrm>
        </p:spPr>
        <p:txBody>
          <a:bodyPr anchor="ctr">
            <a:noAutofit/>
          </a:bodyPr>
          <a:lstStyle>
            <a:lvl1pPr marL="0" indent="0" algn="ctr">
              <a:buNone/>
              <a:defRPr sz="20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0" name="Picture Placeholder 7">
            <a:extLst>
              <a:ext uri="{FF2B5EF4-FFF2-40B4-BE49-F238E27FC236}">
                <a16:creationId xmlns:a16="http://schemas.microsoft.com/office/drawing/2014/main" id="{9D59683A-0C8E-4F47-9CBB-0F1D8BFA54FA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284938" y="2063899"/>
            <a:ext cx="2520000" cy="2520000"/>
          </a:xfrm>
          <a:prstGeom prst="ellipse">
            <a:avLst/>
          </a:prstGeom>
          <a:pattFill prst="pct5">
            <a:fgClr>
              <a:schemeClr val="accent1"/>
            </a:fgClr>
            <a:bgClr>
              <a:schemeClr val="bg1">
                <a:lumMod val="95000"/>
              </a:schemeClr>
            </a:bgClr>
          </a:pattFill>
          <a:ln w="38100">
            <a:solidFill>
              <a:srgbClr val="191919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ED7A46C-B508-9846-945F-13444707BD82}"/>
              </a:ext>
            </a:extLst>
          </p:cNvPr>
          <p:cNvSpPr>
            <a:spLocks noGrp="1"/>
          </p:cNvSpPr>
          <p:nvPr>
            <p:ph type="body" sz="half" idx="25" hasCustomPrompt="1"/>
          </p:nvPr>
        </p:nvSpPr>
        <p:spPr>
          <a:xfrm>
            <a:off x="9182809" y="4856159"/>
            <a:ext cx="2520000" cy="1236633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rgbClr val="191919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807DE84E-5383-7145-BB4F-7AE111157012}"/>
              </a:ext>
            </a:extLst>
          </p:cNvPr>
          <p:cNvSpPr>
            <a:spLocks noGrp="1"/>
          </p:cNvSpPr>
          <p:nvPr>
            <p:ph type="body" sz="half" idx="26" hasCustomPrompt="1"/>
          </p:nvPr>
        </p:nvSpPr>
        <p:spPr>
          <a:xfrm>
            <a:off x="9182809" y="1236387"/>
            <a:ext cx="2520000" cy="765452"/>
          </a:xfrm>
        </p:spPr>
        <p:txBody>
          <a:bodyPr anchor="ctr">
            <a:noAutofit/>
          </a:bodyPr>
          <a:lstStyle>
            <a:lvl1pPr marL="0" indent="0" algn="ctr">
              <a:buNone/>
              <a:defRPr sz="20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3" name="Picture Placeholder 7">
            <a:extLst>
              <a:ext uri="{FF2B5EF4-FFF2-40B4-BE49-F238E27FC236}">
                <a16:creationId xmlns:a16="http://schemas.microsoft.com/office/drawing/2014/main" id="{32FFE451-F39D-6843-852F-B4043814740E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9182809" y="2063899"/>
            <a:ext cx="2520000" cy="2520000"/>
          </a:xfrm>
          <a:prstGeom prst="ellipse">
            <a:avLst/>
          </a:prstGeom>
          <a:pattFill prst="pct5">
            <a:fgClr>
              <a:schemeClr val="accent1"/>
            </a:fgClr>
            <a:bgClr>
              <a:schemeClr val="bg1">
                <a:lumMod val="95000"/>
              </a:schemeClr>
            </a:bgClr>
          </a:pattFill>
          <a:ln w="38100">
            <a:solidFill>
              <a:srgbClr val="191919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1DDD94-83AE-854D-AA85-D405490CAEA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4151674" cy="365125"/>
          </a:xfrm>
        </p:spPr>
        <p:txBody>
          <a:bodyPr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868D98-9614-6F4D-9879-BC271C28C5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226219"/>
            <a:ext cx="4531468" cy="365125"/>
          </a:xfrm>
        </p:spPr>
        <p:txBody>
          <a:bodyPr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6A226-FB73-094F-8B9B-9EE2B6DCCC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36291356-EA70-0A40-94CE-60E422391F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7488" y="1230515"/>
            <a:ext cx="4152408" cy="1846752"/>
          </a:xfrm>
        </p:spPr>
        <p:txBody>
          <a:bodyPr vert="horz"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A346897E-C0F7-A342-9680-EABBF76127C4}"/>
              </a:ext>
            </a:extLst>
          </p:cNvPr>
          <p:cNvSpPr>
            <a:spLocks noGrp="1"/>
          </p:cNvSpPr>
          <p:nvPr>
            <p:ph type="body" sz="half" idx="14" hasCustomPrompt="1"/>
          </p:nvPr>
        </p:nvSpPr>
        <p:spPr>
          <a:xfrm>
            <a:off x="837487" y="3429000"/>
            <a:ext cx="4152409" cy="2510327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7D2C1EEC-701F-6649-B735-60966D960BD3}"/>
              </a:ext>
            </a:extLst>
          </p:cNvPr>
          <p:cNvCxnSpPr>
            <a:cxnSpLocks/>
          </p:cNvCxnSpPr>
          <p:nvPr userDrawn="1"/>
        </p:nvCxnSpPr>
        <p:spPr>
          <a:xfrm>
            <a:off x="838199" y="6291060"/>
            <a:ext cx="4151675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ED53CF5-BCCB-4525-8329-7455AB71AFA9}"/>
              </a:ext>
            </a:extLst>
          </p:cNvPr>
          <p:cNvGrpSpPr/>
          <p:nvPr userDrawn="1"/>
        </p:nvGrpSpPr>
        <p:grpSpPr>
          <a:xfrm>
            <a:off x="5965074" y="6408183"/>
            <a:ext cx="261852" cy="261455"/>
            <a:chOff x="1830159" y="2890771"/>
            <a:chExt cx="588560" cy="587668"/>
          </a:xfrm>
          <a:solidFill>
            <a:srgbClr val="191919"/>
          </a:solidFill>
        </p:grpSpPr>
        <p:sp>
          <p:nvSpPr>
            <p:cNvPr id="34" name="Rectangle 15">
              <a:extLst>
                <a:ext uri="{FF2B5EF4-FFF2-40B4-BE49-F238E27FC236}">
                  <a16:creationId xmlns:a16="http://schemas.microsoft.com/office/drawing/2014/main" id="{DFB95093-168E-482C-AB09-436BDE33B96A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Rectangle 15">
              <a:extLst>
                <a:ext uri="{FF2B5EF4-FFF2-40B4-BE49-F238E27FC236}">
                  <a16:creationId xmlns:a16="http://schemas.microsoft.com/office/drawing/2014/main" id="{30B2803C-639D-44E1-B1D7-7893691628EB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02166426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1B1A7662-0A12-AC4C-9CB8-FB1E4642112C}"/>
              </a:ext>
            </a:extLst>
          </p:cNvPr>
          <p:cNvCxnSpPr/>
          <p:nvPr userDrawn="1"/>
        </p:nvCxnSpPr>
        <p:spPr>
          <a:xfrm>
            <a:off x="0" y="3323900"/>
            <a:ext cx="12192000" cy="0"/>
          </a:xfrm>
          <a:prstGeom prst="line">
            <a:avLst/>
          </a:prstGeom>
          <a:ln w="38100">
            <a:solidFill>
              <a:srgbClr val="1919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1DDD94-83AE-854D-AA85-D405490CA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6A226-FB73-094F-8B9B-9EE2B6DCCC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40E0612C-89FD-7B49-ADA2-BACD6A1B72DC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89193" y="4856159"/>
            <a:ext cx="2515512" cy="1236633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rgbClr val="191919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636D97C9-94BB-0948-BCFE-BE0AA0A87D3C}"/>
              </a:ext>
            </a:extLst>
          </p:cNvPr>
          <p:cNvSpPr>
            <a:spLocks noGrp="1"/>
          </p:cNvSpPr>
          <p:nvPr>
            <p:ph type="body" sz="half" idx="17" hasCustomPrompt="1"/>
          </p:nvPr>
        </p:nvSpPr>
        <p:spPr>
          <a:xfrm>
            <a:off x="489192" y="1230515"/>
            <a:ext cx="2515512" cy="771324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20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39403089-069E-CE4D-B79A-1EE1D7FC91E7}"/>
              </a:ext>
            </a:extLst>
          </p:cNvPr>
          <p:cNvSpPr>
            <a:spLocks noGrp="1"/>
          </p:cNvSpPr>
          <p:nvPr>
            <p:ph type="body" sz="half" idx="19" hasCustomPrompt="1"/>
          </p:nvPr>
        </p:nvSpPr>
        <p:spPr>
          <a:xfrm>
            <a:off x="3387066" y="4856159"/>
            <a:ext cx="2523503" cy="1236633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rgbClr val="191919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4E04BD8-FB66-C34C-814F-79E5B7B40388}"/>
              </a:ext>
            </a:extLst>
          </p:cNvPr>
          <p:cNvSpPr>
            <a:spLocks noGrp="1"/>
          </p:cNvSpPr>
          <p:nvPr>
            <p:ph type="body" sz="half" idx="20" hasCustomPrompt="1"/>
          </p:nvPr>
        </p:nvSpPr>
        <p:spPr>
          <a:xfrm>
            <a:off x="3387064" y="1230515"/>
            <a:ext cx="2523503" cy="771324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20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9A5F5F67-0A8C-7D43-AB5A-51952A483978}"/>
              </a:ext>
            </a:extLst>
          </p:cNvPr>
          <p:cNvSpPr>
            <a:spLocks noGrp="1"/>
          </p:cNvSpPr>
          <p:nvPr>
            <p:ph type="body" sz="half" idx="22" hasCustomPrompt="1"/>
          </p:nvPr>
        </p:nvSpPr>
        <p:spPr>
          <a:xfrm>
            <a:off x="6284938" y="4856159"/>
            <a:ext cx="2520000" cy="1236633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rgbClr val="191919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75D3EE74-B22C-8F43-86B5-2B689E81BCFE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6281834" y="1230515"/>
            <a:ext cx="2520000" cy="771324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20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3" name="Picture Placeholder 7">
            <a:extLst>
              <a:ext uri="{FF2B5EF4-FFF2-40B4-BE49-F238E27FC236}">
                <a16:creationId xmlns:a16="http://schemas.microsoft.com/office/drawing/2014/main" id="{A12AD077-D3CF-7C48-8CAF-5361EC99961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84705" y="2063899"/>
            <a:ext cx="2520000" cy="2520000"/>
          </a:xfrm>
          <a:prstGeom prst="ellipse">
            <a:avLst/>
          </a:prstGeom>
          <a:pattFill prst="pct5">
            <a:fgClr>
              <a:schemeClr val="accent1"/>
            </a:fgClr>
            <a:bgClr>
              <a:schemeClr val="bg1">
                <a:lumMod val="95000"/>
              </a:schemeClr>
            </a:bgClr>
          </a:pattFill>
          <a:ln w="38100">
            <a:solidFill>
              <a:srgbClr val="191919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1497E805-37C0-D346-B732-D0E65B094AD6}"/>
              </a:ext>
            </a:extLst>
          </p:cNvPr>
          <p:cNvSpPr>
            <a:spLocks noGrp="1"/>
          </p:cNvSpPr>
          <p:nvPr>
            <p:ph type="body" sz="half" idx="25" hasCustomPrompt="1"/>
          </p:nvPr>
        </p:nvSpPr>
        <p:spPr>
          <a:xfrm>
            <a:off x="9182809" y="4856159"/>
            <a:ext cx="2520000" cy="1236633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rgbClr val="191919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5FD6D98C-43A9-2C46-8BA2-11B0CC601B32}"/>
              </a:ext>
            </a:extLst>
          </p:cNvPr>
          <p:cNvSpPr>
            <a:spLocks noGrp="1"/>
          </p:cNvSpPr>
          <p:nvPr>
            <p:ph type="body" sz="half" idx="26" hasCustomPrompt="1"/>
          </p:nvPr>
        </p:nvSpPr>
        <p:spPr>
          <a:xfrm>
            <a:off x="9182809" y="1236387"/>
            <a:ext cx="2520000" cy="771324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20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9" name="Picture Placeholder 7">
            <a:extLst>
              <a:ext uri="{FF2B5EF4-FFF2-40B4-BE49-F238E27FC236}">
                <a16:creationId xmlns:a16="http://schemas.microsoft.com/office/drawing/2014/main" id="{81709748-9ED8-D745-A050-ED0FA3416484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387066" y="2063899"/>
            <a:ext cx="2520000" cy="2520000"/>
          </a:xfrm>
          <a:prstGeom prst="ellipse">
            <a:avLst/>
          </a:prstGeom>
          <a:pattFill prst="pct5">
            <a:fgClr>
              <a:schemeClr val="accent1"/>
            </a:fgClr>
            <a:bgClr>
              <a:schemeClr val="bg1">
                <a:lumMod val="95000"/>
              </a:schemeClr>
            </a:bgClr>
          </a:pattFill>
          <a:ln w="38100">
            <a:solidFill>
              <a:srgbClr val="191919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31" name="Picture Placeholder 7">
            <a:extLst>
              <a:ext uri="{FF2B5EF4-FFF2-40B4-BE49-F238E27FC236}">
                <a16:creationId xmlns:a16="http://schemas.microsoft.com/office/drawing/2014/main" id="{4A713A3D-2A9B-DF44-AC7A-D2D56EF2FC03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284938" y="2063899"/>
            <a:ext cx="2520000" cy="2520000"/>
          </a:xfrm>
          <a:prstGeom prst="ellipse">
            <a:avLst/>
          </a:prstGeom>
          <a:pattFill prst="pct5">
            <a:fgClr>
              <a:schemeClr val="accent1"/>
            </a:fgClr>
            <a:bgClr>
              <a:schemeClr val="bg1">
                <a:lumMod val="95000"/>
              </a:schemeClr>
            </a:bgClr>
          </a:pattFill>
          <a:ln w="38100">
            <a:solidFill>
              <a:srgbClr val="191919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32" name="Picture Placeholder 7">
            <a:extLst>
              <a:ext uri="{FF2B5EF4-FFF2-40B4-BE49-F238E27FC236}">
                <a16:creationId xmlns:a16="http://schemas.microsoft.com/office/drawing/2014/main" id="{785212EB-86EA-4040-A756-D70F32E0D9D4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182809" y="2063899"/>
            <a:ext cx="2520000" cy="2520000"/>
          </a:xfrm>
          <a:prstGeom prst="ellipse">
            <a:avLst/>
          </a:prstGeom>
          <a:pattFill prst="pct5">
            <a:fgClr>
              <a:schemeClr val="accent1"/>
            </a:fgClr>
            <a:bgClr>
              <a:schemeClr val="bg1">
                <a:lumMod val="95000"/>
              </a:schemeClr>
            </a:bgClr>
          </a:pattFill>
          <a:ln w="38100">
            <a:solidFill>
              <a:srgbClr val="191919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30" name="Footer Placeholder 5">
            <a:extLst>
              <a:ext uri="{FF2B5EF4-FFF2-40B4-BE49-F238E27FC236}">
                <a16:creationId xmlns:a16="http://schemas.microsoft.com/office/drawing/2014/main" id="{23CA886E-2B97-4A73-B4E6-E031E47292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226219"/>
            <a:ext cx="10515600" cy="365125"/>
          </a:xfrm>
        </p:spPr>
        <p:txBody>
          <a:bodyPr lIns="0"/>
          <a:lstStyle>
            <a:lvl1pPr>
              <a:defRPr>
                <a:solidFill>
                  <a:srgbClr val="191919"/>
                </a:solidFill>
              </a:defRPr>
            </a:lvl1pPr>
          </a:lstStyle>
          <a:p>
            <a:endParaRPr lang="en-US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7CE7ADC-4D7D-4DB1-B532-00C9A4DFB1E1}"/>
              </a:ext>
            </a:extLst>
          </p:cNvPr>
          <p:cNvGrpSpPr/>
          <p:nvPr userDrawn="1"/>
        </p:nvGrpSpPr>
        <p:grpSpPr>
          <a:xfrm>
            <a:off x="5965074" y="6408183"/>
            <a:ext cx="261852" cy="261455"/>
            <a:chOff x="1830159" y="2890771"/>
            <a:chExt cx="588560" cy="587668"/>
          </a:xfrm>
          <a:solidFill>
            <a:srgbClr val="191919"/>
          </a:solidFill>
        </p:grpSpPr>
        <p:sp>
          <p:nvSpPr>
            <p:cNvPr id="37" name="Rectangle 15">
              <a:extLst>
                <a:ext uri="{FF2B5EF4-FFF2-40B4-BE49-F238E27FC236}">
                  <a16:creationId xmlns:a16="http://schemas.microsoft.com/office/drawing/2014/main" id="{C5E88073-B192-40D3-8BB5-0D930B412FA4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15">
              <a:extLst>
                <a:ext uri="{FF2B5EF4-FFF2-40B4-BE49-F238E27FC236}">
                  <a16:creationId xmlns:a16="http://schemas.microsoft.com/office/drawing/2014/main" id="{4231F6D8-002D-4074-96AE-805DDE82E87C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29295400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77BB60E-59A4-4894-A295-D1CDE7320B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1824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77BB60E-59A4-4894-A295-D1CDE7320B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6F271AAC-C994-7A46-AB6B-5736DEFF057E}"/>
              </a:ext>
            </a:extLst>
          </p:cNvPr>
          <p:cNvSpPr/>
          <p:nvPr userDrawn="1"/>
        </p:nvSpPr>
        <p:spPr>
          <a:xfrm>
            <a:off x="-1" y="0"/>
            <a:ext cx="5709067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98FEB2B5-E02D-402F-8CD5-83D6F2C2BD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r="53174"/>
          <a:stretch/>
        </p:blipFill>
        <p:spPr>
          <a:xfrm>
            <a:off x="0" y="0"/>
            <a:ext cx="5709066" cy="6858000"/>
          </a:xfrm>
          <a:prstGeom prst="rect">
            <a:avLst/>
          </a:prstGeom>
        </p:spPr>
      </p:pic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AB858F30-7D73-7A45-A939-DB6E23CDC9BA}"/>
              </a:ext>
            </a:extLst>
          </p:cNvPr>
          <p:cNvCxnSpPr/>
          <p:nvPr userDrawn="1"/>
        </p:nvCxnSpPr>
        <p:spPr>
          <a:xfrm>
            <a:off x="0" y="3323900"/>
            <a:ext cx="12192000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2DA83AF7-2D70-594C-A153-8F63748F1B8E}"/>
              </a:ext>
            </a:extLst>
          </p:cNvPr>
          <p:cNvSpPr>
            <a:spLocks noGrp="1"/>
          </p:cNvSpPr>
          <p:nvPr>
            <p:ph type="body" sz="half" idx="22" hasCustomPrompt="1"/>
          </p:nvPr>
        </p:nvSpPr>
        <p:spPr>
          <a:xfrm>
            <a:off x="6284938" y="4856159"/>
            <a:ext cx="2520000" cy="1236633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rgbClr val="191919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8DE876D7-9EE1-BC4D-89F6-5EDB6DF8DD26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6281834" y="1230515"/>
            <a:ext cx="2520000" cy="771324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2000" b="1" cap="all" baseline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ED7A46C-B508-9846-945F-13444707BD82}"/>
              </a:ext>
            </a:extLst>
          </p:cNvPr>
          <p:cNvSpPr>
            <a:spLocks noGrp="1"/>
          </p:cNvSpPr>
          <p:nvPr>
            <p:ph type="body" sz="half" idx="25" hasCustomPrompt="1"/>
          </p:nvPr>
        </p:nvSpPr>
        <p:spPr>
          <a:xfrm>
            <a:off x="9182809" y="4856159"/>
            <a:ext cx="2520000" cy="1236633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rgbClr val="191919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807DE84E-5383-7145-BB4F-7AE111157012}"/>
              </a:ext>
            </a:extLst>
          </p:cNvPr>
          <p:cNvSpPr>
            <a:spLocks noGrp="1"/>
          </p:cNvSpPr>
          <p:nvPr>
            <p:ph type="body" sz="half" idx="26" hasCustomPrompt="1"/>
          </p:nvPr>
        </p:nvSpPr>
        <p:spPr>
          <a:xfrm>
            <a:off x="9182809" y="1236387"/>
            <a:ext cx="2520000" cy="771324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2000" b="1" cap="all" baseline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1DDD94-83AE-854D-AA85-D405490CAEA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4151674" cy="365125"/>
          </a:xfrm>
        </p:spPr>
        <p:txBody>
          <a:bodyPr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868D98-9614-6F4D-9879-BC271C28C5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226219"/>
            <a:ext cx="4531468" cy="365125"/>
          </a:xfrm>
        </p:spPr>
        <p:txBody>
          <a:bodyPr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6A226-FB73-094F-8B9B-9EE2B6DCCC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36291356-EA70-0A40-94CE-60E422391F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7488" y="1230515"/>
            <a:ext cx="4152408" cy="1846752"/>
          </a:xfrm>
        </p:spPr>
        <p:txBody>
          <a:bodyPr vert="horz" anchor="b">
            <a:noAutofit/>
          </a:bodyPr>
          <a:lstStyle>
            <a:lvl1pPr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A346897E-C0F7-A342-9680-EABBF76127C4}"/>
              </a:ext>
            </a:extLst>
          </p:cNvPr>
          <p:cNvSpPr>
            <a:spLocks noGrp="1"/>
          </p:cNvSpPr>
          <p:nvPr>
            <p:ph type="body" sz="half" idx="14" hasCustomPrompt="1"/>
          </p:nvPr>
        </p:nvSpPr>
        <p:spPr>
          <a:xfrm>
            <a:off x="837487" y="3429000"/>
            <a:ext cx="4152409" cy="2510327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7D2C1EEC-701F-6649-B735-60966D960BD3}"/>
              </a:ext>
            </a:extLst>
          </p:cNvPr>
          <p:cNvCxnSpPr>
            <a:cxnSpLocks/>
          </p:cNvCxnSpPr>
          <p:nvPr userDrawn="1"/>
        </p:nvCxnSpPr>
        <p:spPr>
          <a:xfrm>
            <a:off x="838199" y="6291060"/>
            <a:ext cx="4151675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Oval 25">
            <a:extLst>
              <a:ext uri="{FF2B5EF4-FFF2-40B4-BE49-F238E27FC236}">
                <a16:creationId xmlns:a16="http://schemas.microsoft.com/office/drawing/2014/main" id="{214EC87C-FD57-4B19-AB66-64157F437CD3}"/>
              </a:ext>
            </a:extLst>
          </p:cNvPr>
          <p:cNvSpPr/>
          <p:nvPr userDrawn="1"/>
        </p:nvSpPr>
        <p:spPr>
          <a:xfrm>
            <a:off x="6281834" y="2063900"/>
            <a:ext cx="2520000" cy="252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B3BC4E12-AA80-4943-A569-584159661169}"/>
              </a:ext>
            </a:extLst>
          </p:cNvPr>
          <p:cNvSpPr/>
          <p:nvPr userDrawn="1"/>
        </p:nvSpPr>
        <p:spPr>
          <a:xfrm>
            <a:off x="9182809" y="2063899"/>
            <a:ext cx="2520000" cy="252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D5269425-12C2-4244-ABE7-18EFB6417C59}"/>
              </a:ext>
            </a:extLst>
          </p:cNvPr>
          <p:cNvSpPr>
            <a:spLocks noGrp="1"/>
          </p:cNvSpPr>
          <p:nvPr>
            <p:ph type="body" sz="half" idx="27" hasCustomPrompt="1"/>
          </p:nvPr>
        </p:nvSpPr>
        <p:spPr>
          <a:xfrm>
            <a:off x="6546554" y="2846692"/>
            <a:ext cx="1990560" cy="990202"/>
          </a:xfrm>
        </p:spPr>
        <p:txBody>
          <a:bodyPr anchor="ctr">
            <a:noAutofit/>
          </a:bodyPr>
          <a:lstStyle>
            <a:lvl1pPr marL="0" indent="0" algn="ctr">
              <a:buNone/>
              <a:defRPr sz="2800" b="1" cap="all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date/year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4BCE17FD-FD86-49D6-A633-EB4642E9FAD1}"/>
              </a:ext>
            </a:extLst>
          </p:cNvPr>
          <p:cNvSpPr>
            <a:spLocks noGrp="1"/>
          </p:cNvSpPr>
          <p:nvPr>
            <p:ph type="body" sz="half" idx="28" hasCustomPrompt="1"/>
          </p:nvPr>
        </p:nvSpPr>
        <p:spPr>
          <a:xfrm>
            <a:off x="9447529" y="2846692"/>
            <a:ext cx="1990560" cy="990202"/>
          </a:xfrm>
        </p:spPr>
        <p:txBody>
          <a:bodyPr anchor="ctr">
            <a:noAutofit/>
          </a:bodyPr>
          <a:lstStyle>
            <a:lvl1pPr marL="0" indent="0" algn="ctr">
              <a:buNone/>
              <a:defRPr sz="2800" b="1" cap="all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date/year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D4DB7356-B220-4F27-A302-2FD21036A1C0}"/>
              </a:ext>
            </a:extLst>
          </p:cNvPr>
          <p:cNvGrpSpPr/>
          <p:nvPr userDrawn="1"/>
        </p:nvGrpSpPr>
        <p:grpSpPr>
          <a:xfrm>
            <a:off x="5965074" y="6408183"/>
            <a:ext cx="261852" cy="261455"/>
            <a:chOff x="1830159" y="2890771"/>
            <a:chExt cx="588560" cy="587668"/>
          </a:xfrm>
          <a:solidFill>
            <a:srgbClr val="191919"/>
          </a:solidFill>
        </p:grpSpPr>
        <p:sp>
          <p:nvSpPr>
            <p:cNvPr id="33" name="Rectangle 15">
              <a:extLst>
                <a:ext uri="{FF2B5EF4-FFF2-40B4-BE49-F238E27FC236}">
                  <a16:creationId xmlns:a16="http://schemas.microsoft.com/office/drawing/2014/main" id="{E8D29037-5CA2-45C6-8AA1-2BD3B888A3E3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tangle 15">
              <a:extLst>
                <a:ext uri="{FF2B5EF4-FFF2-40B4-BE49-F238E27FC236}">
                  <a16:creationId xmlns:a16="http://schemas.microsoft.com/office/drawing/2014/main" id="{5697A4B4-CB76-47C3-8581-00B4BB38E2A4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51" name="Graphic 50">
            <a:extLst>
              <a:ext uri="{FF2B5EF4-FFF2-40B4-BE49-F238E27FC236}">
                <a16:creationId xmlns:a16="http://schemas.microsoft.com/office/drawing/2014/main" id="{26DC4152-42E2-486D-B96A-EC1E6BC0E17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358527" y="819904"/>
            <a:ext cx="372819" cy="424157"/>
          </a:xfrm>
          <a:prstGeom prst="rect">
            <a:avLst/>
          </a:prstGeom>
        </p:spPr>
      </p:pic>
      <p:pic>
        <p:nvPicPr>
          <p:cNvPr id="52" name="Graphic 51">
            <a:extLst>
              <a:ext uri="{FF2B5EF4-FFF2-40B4-BE49-F238E27FC236}">
                <a16:creationId xmlns:a16="http://schemas.microsoft.com/office/drawing/2014/main" id="{51E078D0-D8FB-4F6D-8CBF-2A940EAA01C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253297" y="819358"/>
            <a:ext cx="372819" cy="424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29310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fety Moment A">
    <p:bg>
      <p:bgPr>
        <a:blipFill dpi="0" rotWithShape="1">
          <a:blip r:embed="rId3">
            <a:alphaModFix amt="35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267D1C7-D7FE-4287-9127-2687B06D87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5496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6267D1C7-D7FE-4287-9127-2687B06D87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1DDD94-83AE-854D-AA85-D405490CA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/>
          <a:lstStyle>
            <a:lvl1pPr>
              <a:defRPr cap="all" baseline="0">
                <a:solidFill>
                  <a:srgbClr val="191919"/>
                </a:solidFill>
              </a:defRPr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868D98-9614-6F4D-9879-BC271C28C5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8" y="226219"/>
            <a:ext cx="5366657" cy="365125"/>
          </a:xfrm>
        </p:spPr>
        <p:txBody>
          <a:bodyPr lIns="0"/>
          <a:lstStyle>
            <a:lvl1pPr>
              <a:defRPr>
                <a:solidFill>
                  <a:srgbClr val="191919"/>
                </a:solidFill>
              </a:defRPr>
            </a:lvl1pPr>
          </a:lstStyle>
          <a:p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EACD14E-3A5E-8D43-BC54-0BECAB9BF8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654171"/>
            <a:ext cx="4866435" cy="678441"/>
          </a:xfrm>
        </p:spPr>
        <p:txBody>
          <a:bodyPr vert="horz" lIns="0" anchor="b">
            <a:noAutofit/>
          </a:bodyPr>
          <a:lstStyle>
            <a:lvl1pPr>
              <a:lnSpc>
                <a:spcPct val="80000"/>
              </a:lnSpc>
              <a:defRPr sz="3600">
                <a:solidFill>
                  <a:srgbClr val="0D64EF"/>
                </a:solidFill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DB545FF1-6901-E241-AC06-FB93F7BD485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8198" y="2353754"/>
            <a:ext cx="4866437" cy="3642234"/>
          </a:xfrm>
        </p:spPr>
        <p:txBody>
          <a:bodyPr lIns="0"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rgbClr val="191919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D8FF389-3BA2-43E1-BC8E-A4C38CF92D1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884863" y="0"/>
            <a:ext cx="6307137" cy="6858000"/>
          </a:xfrm>
          <a:custGeom>
            <a:avLst/>
            <a:gdLst>
              <a:gd name="connsiteX0" fmla="*/ 431961 w 6307137"/>
              <a:gd name="connsiteY0" fmla="*/ 0 h 6858000"/>
              <a:gd name="connsiteX1" fmla="*/ 6307137 w 6307137"/>
              <a:gd name="connsiteY1" fmla="*/ 0 h 6858000"/>
              <a:gd name="connsiteX2" fmla="*/ 6307137 w 6307137"/>
              <a:gd name="connsiteY2" fmla="*/ 6858000 h 6858000"/>
              <a:gd name="connsiteX3" fmla="*/ 0 w 6307137"/>
              <a:gd name="connsiteY3" fmla="*/ 6858000 h 6858000"/>
              <a:gd name="connsiteX4" fmla="*/ 0 w 6307137"/>
              <a:gd name="connsiteY4" fmla="*/ 1948540 h 6858000"/>
              <a:gd name="connsiteX5" fmla="*/ 431961 w 6307137"/>
              <a:gd name="connsiteY5" fmla="*/ 194854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07137" h="6858000">
                <a:moveTo>
                  <a:pt x="431961" y="0"/>
                </a:moveTo>
                <a:lnTo>
                  <a:pt x="6307137" y="0"/>
                </a:lnTo>
                <a:lnTo>
                  <a:pt x="6307137" y="6858000"/>
                </a:lnTo>
                <a:lnTo>
                  <a:pt x="0" y="6858000"/>
                </a:lnTo>
                <a:lnTo>
                  <a:pt x="0" y="1948540"/>
                </a:lnTo>
                <a:lnTo>
                  <a:pt x="431961" y="1948540"/>
                </a:lnTo>
                <a:close/>
              </a:path>
            </a:pathLst>
          </a:custGeom>
          <a:pattFill prst="pct5">
            <a:fgClr>
              <a:schemeClr val="accent1"/>
            </a:fgClr>
            <a:bgClr>
              <a:schemeClr val="bg1">
                <a:lumMod val="95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70C78FDC-26C5-47AE-8377-B093E46A79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05056" y="6365182"/>
            <a:ext cx="51919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A9E03AD-7469-48F0-8653-6624500574CD}"/>
              </a:ext>
            </a:extLst>
          </p:cNvPr>
          <p:cNvSpPr/>
          <p:nvPr userDrawn="1"/>
        </p:nvSpPr>
        <p:spPr>
          <a:xfrm rot="16200000">
            <a:off x="5320632" y="952998"/>
            <a:ext cx="1945365" cy="45719"/>
          </a:xfrm>
          <a:prstGeom prst="rect">
            <a:avLst/>
          </a:prstGeom>
          <a:solidFill>
            <a:srgbClr val="0D64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8FB8945-9F9E-4947-8210-F64FC24485F5}"/>
              </a:ext>
            </a:extLst>
          </p:cNvPr>
          <p:cNvSpPr/>
          <p:nvPr userDrawn="1"/>
        </p:nvSpPr>
        <p:spPr>
          <a:xfrm rot="16200000">
            <a:off x="3410625" y="4380407"/>
            <a:ext cx="4909453" cy="45719"/>
          </a:xfrm>
          <a:prstGeom prst="rect">
            <a:avLst/>
          </a:prstGeom>
          <a:solidFill>
            <a:srgbClr val="0D64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D5D17E21-926E-45AD-AA01-F5A434D116A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5400000">
            <a:off x="6002005" y="1688998"/>
            <a:ext cx="195645" cy="195645"/>
          </a:xfrm>
          <a:prstGeom prst="rect">
            <a:avLst/>
          </a:prstGeom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E30413F-E719-49DA-8114-11931687A75E}"/>
              </a:ext>
            </a:extLst>
          </p:cNvPr>
          <p:cNvCxnSpPr>
            <a:cxnSpLocks/>
          </p:cNvCxnSpPr>
          <p:nvPr userDrawn="1"/>
        </p:nvCxnSpPr>
        <p:spPr>
          <a:xfrm>
            <a:off x="838199" y="6291060"/>
            <a:ext cx="4912156" cy="0"/>
          </a:xfrm>
          <a:prstGeom prst="line">
            <a:avLst/>
          </a:prstGeom>
          <a:ln w="19050">
            <a:solidFill>
              <a:srgbClr val="1919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9B8DDF8-5B8C-4E57-A0F7-6FFA772C0BC2}"/>
              </a:ext>
            </a:extLst>
          </p:cNvPr>
          <p:cNvGrpSpPr/>
          <p:nvPr userDrawn="1"/>
        </p:nvGrpSpPr>
        <p:grpSpPr>
          <a:xfrm>
            <a:off x="5488503" y="6408183"/>
            <a:ext cx="261852" cy="261455"/>
            <a:chOff x="1830159" y="2890771"/>
            <a:chExt cx="588560" cy="587668"/>
          </a:xfrm>
          <a:solidFill>
            <a:srgbClr val="191919"/>
          </a:solidFill>
        </p:grpSpPr>
        <p:sp>
          <p:nvSpPr>
            <p:cNvPr id="23" name="Rectangle 15">
              <a:extLst>
                <a:ext uri="{FF2B5EF4-FFF2-40B4-BE49-F238E27FC236}">
                  <a16:creationId xmlns:a16="http://schemas.microsoft.com/office/drawing/2014/main" id="{4B2D169A-B371-41FD-A0ED-6C46D422A9B5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15">
              <a:extLst>
                <a:ext uri="{FF2B5EF4-FFF2-40B4-BE49-F238E27FC236}">
                  <a16:creationId xmlns:a16="http://schemas.microsoft.com/office/drawing/2014/main" id="{40AC2A94-BA0D-4B03-8960-DBF8A2710E52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" name="Graphic 5">
            <a:extLst>
              <a:ext uri="{FF2B5EF4-FFF2-40B4-BE49-F238E27FC236}">
                <a16:creationId xmlns:a16="http://schemas.microsoft.com/office/drawing/2014/main" id="{496AFE4A-1B0A-4F6F-B5E1-4862F2CDE91B}"/>
              </a:ext>
            </a:extLst>
          </p:cNvPr>
          <p:cNvGrpSpPr/>
          <p:nvPr/>
        </p:nvGrpSpPr>
        <p:grpSpPr>
          <a:xfrm>
            <a:off x="868698" y="1108782"/>
            <a:ext cx="519195" cy="519060"/>
            <a:chOff x="2667000" y="-9"/>
            <a:chExt cx="6857419" cy="6855633"/>
          </a:xfrm>
          <a:solidFill>
            <a:srgbClr val="000000"/>
          </a:solidFill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7FAC4AE5-C77D-4B56-9BCC-AD0443821145}"/>
                </a:ext>
              </a:extLst>
            </p:cNvPr>
            <p:cNvSpPr/>
            <p:nvPr/>
          </p:nvSpPr>
          <p:spPr>
            <a:xfrm>
              <a:off x="6101482" y="-9"/>
              <a:ext cx="3422936" cy="6546219"/>
            </a:xfrm>
            <a:custGeom>
              <a:avLst/>
              <a:gdLst>
                <a:gd name="connsiteX0" fmla="*/ 2937797 w 3422936"/>
                <a:gd name="connsiteY0" fmla="*/ 3428139 h 6546219"/>
                <a:gd name="connsiteX1" fmla="*/ 1165167 w 3422936"/>
                <a:gd name="connsiteY1" fmla="*/ 6128594 h 6546219"/>
                <a:gd name="connsiteX2" fmla="*/ 1123801 w 3422936"/>
                <a:gd name="connsiteY2" fmla="*/ 6324755 h 6546219"/>
                <a:gd name="connsiteX3" fmla="*/ 1304794 w 3422936"/>
                <a:gd name="connsiteY3" fmla="*/ 6509231 h 6546219"/>
                <a:gd name="connsiteX4" fmla="*/ 1443334 w 3422936"/>
                <a:gd name="connsiteY4" fmla="*/ 6535067 h 6546219"/>
                <a:gd name="connsiteX5" fmla="*/ 3422937 w 3422936"/>
                <a:gd name="connsiteY5" fmla="*/ 3428139 h 6546219"/>
                <a:gd name="connsiteX6" fmla="*/ 55405 w 3422936"/>
                <a:gd name="connsiteY6" fmla="*/ 9 h 6546219"/>
                <a:gd name="connsiteX7" fmla="*/ 15418 w 3422936"/>
                <a:gd name="connsiteY7" fmla="*/ 92901 h 6546219"/>
                <a:gd name="connsiteX8" fmla="*/ 373268 w 3422936"/>
                <a:gd name="connsiteY8" fmla="*/ 457718 h 6546219"/>
                <a:gd name="connsiteX9" fmla="*/ 513911 w 3422936"/>
                <a:gd name="connsiteY9" fmla="*/ 530652 h 6546219"/>
                <a:gd name="connsiteX10" fmla="*/ 2937870 w 3422936"/>
                <a:gd name="connsiteY10" fmla="*/ 3428211 h 6546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22936" h="6546219">
                  <a:moveTo>
                    <a:pt x="2937797" y="3428139"/>
                  </a:moveTo>
                  <a:cubicBezTo>
                    <a:pt x="2937797" y="4635292"/>
                    <a:pt x="2207293" y="5675023"/>
                    <a:pt x="1165167" y="6128594"/>
                  </a:cubicBezTo>
                  <a:cubicBezTo>
                    <a:pt x="1086209" y="6162993"/>
                    <a:pt x="1063494" y="6263287"/>
                    <a:pt x="1123801" y="6324755"/>
                  </a:cubicBezTo>
                  <a:lnTo>
                    <a:pt x="1304794" y="6509231"/>
                  </a:lnTo>
                  <a:cubicBezTo>
                    <a:pt x="1340790" y="6545953"/>
                    <a:pt x="1396742" y="6556838"/>
                    <a:pt x="1443334" y="6535067"/>
                  </a:cubicBezTo>
                  <a:cubicBezTo>
                    <a:pt x="2611661" y="5988023"/>
                    <a:pt x="3422937" y="4801118"/>
                    <a:pt x="3422937" y="3428139"/>
                  </a:cubicBezTo>
                  <a:cubicBezTo>
                    <a:pt x="3422864" y="1558046"/>
                    <a:pt x="1917878" y="32739"/>
                    <a:pt x="55405" y="9"/>
                  </a:cubicBezTo>
                  <a:cubicBezTo>
                    <a:pt x="7217" y="-861"/>
                    <a:pt x="-18400" y="58429"/>
                    <a:pt x="15418" y="92901"/>
                  </a:cubicBezTo>
                  <a:cubicBezTo>
                    <a:pt x="146555" y="226577"/>
                    <a:pt x="373268" y="457718"/>
                    <a:pt x="373268" y="457718"/>
                  </a:cubicBezTo>
                  <a:cubicBezTo>
                    <a:pt x="411222" y="496325"/>
                    <a:pt x="460571" y="521072"/>
                    <a:pt x="513911" y="530652"/>
                  </a:cubicBezTo>
                  <a:cubicBezTo>
                    <a:pt x="1890011" y="776742"/>
                    <a:pt x="2937870" y="1982371"/>
                    <a:pt x="2937870" y="3428211"/>
                  </a:cubicBezTo>
                  <a:close/>
                </a:path>
              </a:pathLst>
            </a:custGeom>
            <a:solidFill>
              <a:srgbClr val="000000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BD05A8A4-A22A-4A56-873E-8DC24BFE984F}"/>
                </a:ext>
              </a:extLst>
            </p:cNvPr>
            <p:cNvSpPr/>
            <p:nvPr/>
          </p:nvSpPr>
          <p:spPr>
            <a:xfrm>
              <a:off x="2667000" y="319009"/>
              <a:ext cx="3394825" cy="6536614"/>
            </a:xfrm>
            <a:custGeom>
              <a:avLst/>
              <a:gdLst>
                <a:gd name="connsiteX0" fmla="*/ 3016069 w 3394825"/>
                <a:gd name="connsiteY0" fmla="*/ 6073373 h 6536614"/>
                <a:gd name="connsiteX1" fmla="*/ 2878255 w 3394825"/>
                <a:gd name="connsiteY1" fmla="*/ 6000946 h 6536614"/>
                <a:gd name="connsiteX2" fmla="*/ 485067 w 3394825"/>
                <a:gd name="connsiteY2" fmla="*/ 3109193 h 6536614"/>
                <a:gd name="connsiteX3" fmla="*/ 2239337 w 3394825"/>
                <a:gd name="connsiteY3" fmla="*/ 416793 h 6536614"/>
                <a:gd name="connsiteX4" fmla="*/ 2279904 w 3394825"/>
                <a:gd name="connsiteY4" fmla="*/ 220995 h 6536614"/>
                <a:gd name="connsiteX5" fmla="*/ 2099274 w 3394825"/>
                <a:gd name="connsiteY5" fmla="*/ 36954 h 6536614"/>
                <a:gd name="connsiteX6" fmla="*/ 1960154 w 3394825"/>
                <a:gd name="connsiteY6" fmla="*/ 11481 h 6536614"/>
                <a:gd name="connsiteX7" fmla="*/ 0 w 3394825"/>
                <a:gd name="connsiteY7" fmla="*/ 3109120 h 6536614"/>
                <a:gd name="connsiteX8" fmla="*/ 3339012 w 3394825"/>
                <a:gd name="connsiteY8" fmla="*/ 6536596 h 6536614"/>
                <a:gd name="connsiteX9" fmla="*/ 3379434 w 3394825"/>
                <a:gd name="connsiteY9" fmla="*/ 6443777 h 6536614"/>
                <a:gd name="connsiteX10" fmla="*/ 3016069 w 3394825"/>
                <a:gd name="connsiteY10" fmla="*/ 6073300 h 6536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394825" h="6536614">
                  <a:moveTo>
                    <a:pt x="3016069" y="6073373"/>
                  </a:moveTo>
                  <a:cubicBezTo>
                    <a:pt x="2978840" y="6035418"/>
                    <a:pt x="2930507" y="6010889"/>
                    <a:pt x="2878255" y="6000946"/>
                  </a:cubicBezTo>
                  <a:cubicBezTo>
                    <a:pt x="1517324" y="5742447"/>
                    <a:pt x="485067" y="4544220"/>
                    <a:pt x="485067" y="3109193"/>
                  </a:cubicBezTo>
                  <a:cubicBezTo>
                    <a:pt x="485067" y="1909079"/>
                    <a:pt x="1207008" y="874573"/>
                    <a:pt x="2239337" y="416793"/>
                  </a:cubicBezTo>
                  <a:cubicBezTo>
                    <a:pt x="2317714" y="382031"/>
                    <a:pt x="2339993" y="282173"/>
                    <a:pt x="2279904" y="220995"/>
                  </a:cubicBezTo>
                  <a:lnTo>
                    <a:pt x="2099274" y="36954"/>
                  </a:lnTo>
                  <a:cubicBezTo>
                    <a:pt x="2063061" y="87"/>
                    <a:pt x="2006818" y="-10726"/>
                    <a:pt x="1960154" y="11481"/>
                  </a:cubicBezTo>
                  <a:cubicBezTo>
                    <a:pt x="802277" y="562443"/>
                    <a:pt x="0" y="1743761"/>
                    <a:pt x="0" y="3109120"/>
                  </a:cubicBezTo>
                  <a:cubicBezTo>
                    <a:pt x="0" y="4969707"/>
                    <a:pt x="1489746" y="6488917"/>
                    <a:pt x="3339012" y="6536596"/>
                  </a:cubicBezTo>
                  <a:cubicBezTo>
                    <a:pt x="3387417" y="6537830"/>
                    <a:pt x="3413325" y="6478394"/>
                    <a:pt x="3379434" y="6443777"/>
                  </a:cubicBezTo>
                  <a:cubicBezTo>
                    <a:pt x="3246483" y="6308141"/>
                    <a:pt x="3016069" y="6073300"/>
                    <a:pt x="3016069" y="6073300"/>
                  </a:cubicBezTo>
                  <a:close/>
                </a:path>
              </a:pathLst>
            </a:custGeom>
            <a:solidFill>
              <a:srgbClr val="000000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8F468D1-50DC-4524-B718-53BA20D5381E}"/>
                </a:ext>
              </a:extLst>
            </p:cNvPr>
            <p:cNvSpPr/>
            <p:nvPr/>
          </p:nvSpPr>
          <p:spPr>
            <a:xfrm>
              <a:off x="4402790" y="1412965"/>
              <a:ext cx="3385882" cy="4029673"/>
            </a:xfrm>
            <a:custGeom>
              <a:avLst/>
              <a:gdLst>
                <a:gd name="connsiteX0" fmla="*/ 3385576 w 3385882"/>
                <a:gd name="connsiteY0" fmla="*/ 3774077 h 4029673"/>
                <a:gd name="connsiteX1" fmla="*/ 3385503 w 3385882"/>
                <a:gd name="connsiteY1" fmla="*/ 3421525 h 4029673"/>
                <a:gd name="connsiteX2" fmla="*/ 3320987 w 3385882"/>
                <a:gd name="connsiteY2" fmla="*/ 3247572 h 4029673"/>
                <a:gd name="connsiteX3" fmla="*/ 3140792 w 3385882"/>
                <a:gd name="connsiteY3" fmla="*/ 3176815 h 4029673"/>
                <a:gd name="connsiteX4" fmla="*/ 3061689 w 3385882"/>
                <a:gd name="connsiteY4" fmla="*/ 3176959 h 4029673"/>
                <a:gd name="connsiteX5" fmla="*/ 3053053 w 3385882"/>
                <a:gd name="connsiteY5" fmla="*/ 3176959 h 4029673"/>
                <a:gd name="connsiteX6" fmla="*/ 2938028 w 3385882"/>
                <a:gd name="connsiteY6" fmla="*/ 3177323 h 4029673"/>
                <a:gd name="connsiteX7" fmla="*/ 2502454 w 3385882"/>
                <a:gd name="connsiteY7" fmla="*/ 1904710 h 4029673"/>
                <a:gd name="connsiteX8" fmla="*/ 2364714 w 3385882"/>
                <a:gd name="connsiteY8" fmla="*/ 1503245 h 4029673"/>
                <a:gd name="connsiteX9" fmla="*/ 1906062 w 3385882"/>
                <a:gd name="connsiteY9" fmla="*/ 166842 h 4029673"/>
                <a:gd name="connsiteX10" fmla="*/ 1685227 w 3385882"/>
                <a:gd name="connsiteY10" fmla="*/ 0 h 4029673"/>
                <a:gd name="connsiteX11" fmla="*/ 1681889 w 3385882"/>
                <a:gd name="connsiteY11" fmla="*/ 0 h 4029673"/>
                <a:gd name="connsiteX12" fmla="*/ 1464683 w 3385882"/>
                <a:gd name="connsiteY12" fmla="*/ 167713 h 4029673"/>
                <a:gd name="connsiteX13" fmla="*/ 1347843 w 3385882"/>
                <a:gd name="connsiteY13" fmla="*/ 510758 h 4029673"/>
                <a:gd name="connsiteX14" fmla="*/ 988179 w 3385882"/>
                <a:gd name="connsiteY14" fmla="*/ 1567035 h 4029673"/>
                <a:gd name="connsiteX15" fmla="*/ 985276 w 3385882"/>
                <a:gd name="connsiteY15" fmla="*/ 1575743 h 4029673"/>
                <a:gd name="connsiteX16" fmla="*/ 441135 w 3385882"/>
                <a:gd name="connsiteY16" fmla="*/ 3177032 h 4029673"/>
                <a:gd name="connsiteX17" fmla="*/ 237064 w 3385882"/>
                <a:gd name="connsiteY17" fmla="*/ 3177177 h 4029673"/>
                <a:gd name="connsiteX18" fmla="*/ 264 w 3385882"/>
                <a:gd name="connsiteY18" fmla="*/ 3415067 h 4029673"/>
                <a:gd name="connsiteX19" fmla="*/ 264 w 3385882"/>
                <a:gd name="connsiteY19" fmla="*/ 3478711 h 4029673"/>
                <a:gd name="connsiteX20" fmla="*/ 554 w 3385882"/>
                <a:gd name="connsiteY20" fmla="*/ 3795631 h 4029673"/>
                <a:gd name="connsiteX21" fmla="*/ 130384 w 3385882"/>
                <a:gd name="connsiteY21" fmla="*/ 4002823 h 4029673"/>
                <a:gd name="connsiteX22" fmla="*/ 262755 w 3385882"/>
                <a:gd name="connsiteY22" fmla="*/ 4028658 h 4029673"/>
                <a:gd name="connsiteX23" fmla="*/ 1410834 w 3385882"/>
                <a:gd name="connsiteY23" fmla="*/ 4029456 h 4029673"/>
                <a:gd name="connsiteX24" fmla="*/ 2578799 w 3385882"/>
                <a:gd name="connsiteY24" fmla="*/ 4029456 h 4029673"/>
                <a:gd name="connsiteX25" fmla="*/ 2742520 w 3385882"/>
                <a:gd name="connsiteY25" fmla="*/ 4029311 h 4029673"/>
                <a:gd name="connsiteX26" fmla="*/ 2778443 w 3385882"/>
                <a:gd name="connsiteY26" fmla="*/ 4029311 h 4029673"/>
                <a:gd name="connsiteX27" fmla="*/ 3131213 w 3385882"/>
                <a:gd name="connsiteY27" fmla="*/ 4029674 h 4029673"/>
                <a:gd name="connsiteX28" fmla="*/ 3132664 w 3385882"/>
                <a:gd name="connsiteY28" fmla="*/ 4029674 h 4029673"/>
                <a:gd name="connsiteX29" fmla="*/ 3322511 w 3385882"/>
                <a:gd name="connsiteY29" fmla="*/ 3956667 h 4029673"/>
                <a:gd name="connsiteX30" fmla="*/ 3385576 w 3385882"/>
                <a:gd name="connsiteY30" fmla="*/ 3774005 h 4029673"/>
                <a:gd name="connsiteX31" fmla="*/ 3093113 w 3385882"/>
                <a:gd name="connsiteY31" fmla="*/ 3660793 h 4029673"/>
                <a:gd name="connsiteX32" fmla="*/ 3093113 w 3385882"/>
                <a:gd name="connsiteY32" fmla="*/ 3673203 h 4029673"/>
                <a:gd name="connsiteX33" fmla="*/ 3093258 w 3385882"/>
                <a:gd name="connsiteY33" fmla="*/ 3738372 h 4029673"/>
                <a:gd name="connsiteX34" fmla="*/ 3019235 w 3385882"/>
                <a:gd name="connsiteY34" fmla="*/ 3738372 h 4029673"/>
                <a:gd name="connsiteX35" fmla="*/ 2972935 w 3385882"/>
                <a:gd name="connsiteY35" fmla="*/ 3738372 h 4029673"/>
                <a:gd name="connsiteX36" fmla="*/ 291638 w 3385882"/>
                <a:gd name="connsiteY36" fmla="*/ 3738372 h 4029673"/>
                <a:gd name="connsiteX37" fmla="*/ 291710 w 3385882"/>
                <a:gd name="connsiteY37" fmla="*/ 3569353 h 4029673"/>
                <a:gd name="connsiteX38" fmla="*/ 291710 w 3385882"/>
                <a:gd name="connsiteY38" fmla="*/ 3468334 h 4029673"/>
                <a:gd name="connsiteX39" fmla="*/ 3093476 w 3385882"/>
                <a:gd name="connsiteY39" fmla="*/ 3468334 h 4029673"/>
                <a:gd name="connsiteX40" fmla="*/ 3093113 w 3385882"/>
                <a:gd name="connsiteY40" fmla="*/ 3660866 h 4029673"/>
                <a:gd name="connsiteX41" fmla="*/ 1685808 w 3385882"/>
                <a:gd name="connsiteY41" fmla="*/ 423817 h 4029673"/>
                <a:gd name="connsiteX42" fmla="*/ 1981971 w 3385882"/>
                <a:gd name="connsiteY42" fmla="*/ 1287127 h 4029673"/>
                <a:gd name="connsiteX43" fmla="*/ 1996123 w 3385882"/>
                <a:gd name="connsiteY43" fmla="*/ 1328420 h 4029673"/>
                <a:gd name="connsiteX44" fmla="*/ 1377742 w 3385882"/>
                <a:gd name="connsiteY44" fmla="*/ 1328420 h 4029673"/>
                <a:gd name="connsiteX45" fmla="*/ 1685808 w 3385882"/>
                <a:gd name="connsiteY45" fmla="*/ 423817 h 4029673"/>
                <a:gd name="connsiteX46" fmla="*/ 1074684 w 3385882"/>
                <a:gd name="connsiteY46" fmla="*/ 2217783 h 4029673"/>
                <a:gd name="connsiteX47" fmla="*/ 1133902 w 3385882"/>
                <a:gd name="connsiteY47" fmla="*/ 2043974 h 4029673"/>
                <a:gd name="connsiteX48" fmla="*/ 1277303 w 3385882"/>
                <a:gd name="connsiteY48" fmla="*/ 1620375 h 4029673"/>
                <a:gd name="connsiteX49" fmla="*/ 2097433 w 3385882"/>
                <a:gd name="connsiteY49" fmla="*/ 1620593 h 4029673"/>
                <a:gd name="connsiteX50" fmla="*/ 2280168 w 3385882"/>
                <a:gd name="connsiteY50" fmla="*/ 2155517 h 4029673"/>
                <a:gd name="connsiteX51" fmla="*/ 2308834 w 3385882"/>
                <a:gd name="connsiteY51" fmla="*/ 2238901 h 4029673"/>
                <a:gd name="connsiteX52" fmla="*/ 2323348 w 3385882"/>
                <a:gd name="connsiteY52" fmla="*/ 2281283 h 4029673"/>
                <a:gd name="connsiteX53" fmla="*/ 1052549 w 3385882"/>
                <a:gd name="connsiteY53" fmla="*/ 2283460 h 4029673"/>
                <a:gd name="connsiteX54" fmla="*/ 1074684 w 3385882"/>
                <a:gd name="connsiteY54" fmla="*/ 2217783 h 4029673"/>
                <a:gd name="connsiteX55" fmla="*/ 759070 w 3385882"/>
                <a:gd name="connsiteY55" fmla="*/ 3145826 h 4029673"/>
                <a:gd name="connsiteX56" fmla="*/ 791800 w 3385882"/>
                <a:gd name="connsiteY56" fmla="*/ 3049742 h 4029673"/>
                <a:gd name="connsiteX57" fmla="*/ 799420 w 3385882"/>
                <a:gd name="connsiteY57" fmla="*/ 3027317 h 4029673"/>
                <a:gd name="connsiteX58" fmla="*/ 952256 w 3385882"/>
                <a:gd name="connsiteY58" fmla="*/ 2576939 h 4029673"/>
                <a:gd name="connsiteX59" fmla="*/ 2425601 w 3385882"/>
                <a:gd name="connsiteY59" fmla="*/ 2577084 h 4029673"/>
                <a:gd name="connsiteX60" fmla="*/ 2584387 w 3385882"/>
                <a:gd name="connsiteY60" fmla="*/ 3041759 h 4029673"/>
                <a:gd name="connsiteX61" fmla="*/ 2620745 w 3385882"/>
                <a:gd name="connsiteY61" fmla="*/ 3147713 h 4029673"/>
                <a:gd name="connsiteX62" fmla="*/ 2630180 w 3385882"/>
                <a:gd name="connsiteY62" fmla="*/ 3175218 h 4029673"/>
                <a:gd name="connsiteX63" fmla="*/ 749056 w 3385882"/>
                <a:gd name="connsiteY63" fmla="*/ 3175218 h 4029673"/>
                <a:gd name="connsiteX64" fmla="*/ 759070 w 3385882"/>
                <a:gd name="connsiteY64" fmla="*/ 3145826 h 4029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3385882" h="4029673">
                  <a:moveTo>
                    <a:pt x="3385576" y="3774077"/>
                  </a:moveTo>
                  <a:cubicBezTo>
                    <a:pt x="3380786" y="3664277"/>
                    <a:pt x="3380786" y="3548961"/>
                    <a:pt x="3385503" y="3421525"/>
                  </a:cubicBezTo>
                  <a:cubicBezTo>
                    <a:pt x="3387898" y="3354397"/>
                    <a:pt x="3365038" y="3292638"/>
                    <a:pt x="3320987" y="3247572"/>
                  </a:cubicBezTo>
                  <a:cubicBezTo>
                    <a:pt x="3275267" y="3200836"/>
                    <a:pt x="3211332" y="3175798"/>
                    <a:pt x="3140792" y="3176815"/>
                  </a:cubicBezTo>
                  <a:cubicBezTo>
                    <a:pt x="3114812" y="3177250"/>
                    <a:pt x="3087815" y="3177105"/>
                    <a:pt x="3061689" y="3176959"/>
                  </a:cubicBezTo>
                  <a:lnTo>
                    <a:pt x="3053053" y="3176959"/>
                  </a:lnTo>
                  <a:cubicBezTo>
                    <a:pt x="3012414" y="3176524"/>
                    <a:pt x="2975184" y="3176379"/>
                    <a:pt x="2938028" y="3177323"/>
                  </a:cubicBezTo>
                  <a:cubicBezTo>
                    <a:pt x="2793393" y="2752925"/>
                    <a:pt x="2645492" y="2321851"/>
                    <a:pt x="2502454" y="1904710"/>
                  </a:cubicBezTo>
                  <a:lnTo>
                    <a:pt x="2364714" y="1503245"/>
                  </a:lnTo>
                  <a:cubicBezTo>
                    <a:pt x="2211950" y="1057729"/>
                    <a:pt x="2059115" y="612285"/>
                    <a:pt x="1906062" y="166842"/>
                  </a:cubicBezTo>
                  <a:cubicBezTo>
                    <a:pt x="1868543" y="57694"/>
                    <a:pt x="1792197" y="0"/>
                    <a:pt x="1685227" y="0"/>
                  </a:cubicBezTo>
                  <a:cubicBezTo>
                    <a:pt x="1684138" y="0"/>
                    <a:pt x="1682977" y="0"/>
                    <a:pt x="1681889" y="0"/>
                  </a:cubicBezTo>
                  <a:cubicBezTo>
                    <a:pt x="1576733" y="1161"/>
                    <a:pt x="1501694" y="59146"/>
                    <a:pt x="1464683" y="167713"/>
                  </a:cubicBezTo>
                  <a:lnTo>
                    <a:pt x="1347843" y="510758"/>
                  </a:lnTo>
                  <a:cubicBezTo>
                    <a:pt x="1227955" y="862802"/>
                    <a:pt x="1108066" y="1214846"/>
                    <a:pt x="988179" y="1567035"/>
                  </a:cubicBezTo>
                  <a:lnTo>
                    <a:pt x="985276" y="1575743"/>
                  </a:lnTo>
                  <a:cubicBezTo>
                    <a:pt x="820538" y="2059795"/>
                    <a:pt x="629313" y="2621643"/>
                    <a:pt x="441135" y="3177032"/>
                  </a:cubicBezTo>
                  <a:cubicBezTo>
                    <a:pt x="371757" y="3176016"/>
                    <a:pt x="302306" y="3176524"/>
                    <a:pt x="237064" y="3177177"/>
                  </a:cubicBezTo>
                  <a:cubicBezTo>
                    <a:pt x="100122" y="3178556"/>
                    <a:pt x="481" y="3278632"/>
                    <a:pt x="264" y="3415067"/>
                  </a:cubicBezTo>
                  <a:lnTo>
                    <a:pt x="264" y="3478711"/>
                  </a:lnTo>
                  <a:cubicBezTo>
                    <a:pt x="-27" y="3582126"/>
                    <a:pt x="-244" y="3689096"/>
                    <a:pt x="554" y="3795631"/>
                  </a:cubicBezTo>
                  <a:cubicBezTo>
                    <a:pt x="1207" y="3892079"/>
                    <a:pt x="48524" y="3967553"/>
                    <a:pt x="130384" y="4002823"/>
                  </a:cubicBezTo>
                  <a:cubicBezTo>
                    <a:pt x="179442" y="4024013"/>
                    <a:pt x="229444" y="4028585"/>
                    <a:pt x="262755" y="4028658"/>
                  </a:cubicBezTo>
                  <a:cubicBezTo>
                    <a:pt x="649125" y="4029601"/>
                    <a:pt x="1036366" y="4029529"/>
                    <a:pt x="1410834" y="4029456"/>
                  </a:cubicBezTo>
                  <a:lnTo>
                    <a:pt x="2578799" y="4029456"/>
                  </a:lnTo>
                  <a:cubicBezTo>
                    <a:pt x="2633373" y="4029456"/>
                    <a:pt x="2687947" y="4029384"/>
                    <a:pt x="2742520" y="4029311"/>
                  </a:cubicBezTo>
                  <a:lnTo>
                    <a:pt x="2778443" y="4029311"/>
                  </a:lnTo>
                  <a:cubicBezTo>
                    <a:pt x="2894122" y="4029238"/>
                    <a:pt x="3013720" y="4029166"/>
                    <a:pt x="3131213" y="4029674"/>
                  </a:cubicBezTo>
                  <a:lnTo>
                    <a:pt x="3132664" y="4029674"/>
                  </a:lnTo>
                  <a:cubicBezTo>
                    <a:pt x="3210896" y="4029674"/>
                    <a:pt x="3276501" y="4004419"/>
                    <a:pt x="3322511" y="3956667"/>
                  </a:cubicBezTo>
                  <a:cubicBezTo>
                    <a:pt x="3366998" y="3910439"/>
                    <a:pt x="3388769" y="3847302"/>
                    <a:pt x="3385576" y="3774005"/>
                  </a:cubicBezTo>
                  <a:close/>
                  <a:moveTo>
                    <a:pt x="3093113" y="3660793"/>
                  </a:moveTo>
                  <a:lnTo>
                    <a:pt x="3093113" y="3673203"/>
                  </a:lnTo>
                  <a:cubicBezTo>
                    <a:pt x="3093185" y="3694974"/>
                    <a:pt x="3093185" y="3716673"/>
                    <a:pt x="3093258" y="3738372"/>
                  </a:cubicBezTo>
                  <a:cubicBezTo>
                    <a:pt x="3067640" y="3738445"/>
                    <a:pt x="3042313" y="3738445"/>
                    <a:pt x="3019235" y="3738372"/>
                  </a:cubicBezTo>
                  <a:cubicBezTo>
                    <a:pt x="3003778" y="3738372"/>
                    <a:pt x="2988392" y="3738372"/>
                    <a:pt x="2972935" y="3738372"/>
                  </a:cubicBezTo>
                  <a:lnTo>
                    <a:pt x="291638" y="3738372"/>
                  </a:lnTo>
                  <a:cubicBezTo>
                    <a:pt x="291638" y="3682057"/>
                    <a:pt x="291710" y="3625669"/>
                    <a:pt x="291710" y="3569353"/>
                  </a:cubicBezTo>
                  <a:lnTo>
                    <a:pt x="291710" y="3468334"/>
                  </a:lnTo>
                  <a:lnTo>
                    <a:pt x="3093476" y="3468334"/>
                  </a:lnTo>
                  <a:cubicBezTo>
                    <a:pt x="3092822" y="3532923"/>
                    <a:pt x="3092968" y="3597874"/>
                    <a:pt x="3093113" y="3660866"/>
                  </a:cubicBezTo>
                  <a:close/>
                  <a:moveTo>
                    <a:pt x="1685808" y="423817"/>
                  </a:moveTo>
                  <a:cubicBezTo>
                    <a:pt x="1785158" y="712361"/>
                    <a:pt x="1885089" y="1004098"/>
                    <a:pt x="1981971" y="1287127"/>
                  </a:cubicBezTo>
                  <a:lnTo>
                    <a:pt x="1996123" y="1328420"/>
                  </a:lnTo>
                  <a:lnTo>
                    <a:pt x="1377742" y="1328420"/>
                  </a:lnTo>
                  <a:cubicBezTo>
                    <a:pt x="1473319" y="1047206"/>
                    <a:pt x="1579345" y="735294"/>
                    <a:pt x="1685808" y="423817"/>
                  </a:cubicBezTo>
                  <a:close/>
                  <a:moveTo>
                    <a:pt x="1074684" y="2217783"/>
                  </a:moveTo>
                  <a:lnTo>
                    <a:pt x="1133902" y="2043974"/>
                  </a:lnTo>
                  <a:cubicBezTo>
                    <a:pt x="1181146" y="1905290"/>
                    <a:pt x="1229987" y="1762034"/>
                    <a:pt x="1277303" y="1620375"/>
                  </a:cubicBezTo>
                  <a:cubicBezTo>
                    <a:pt x="1527965" y="1621609"/>
                    <a:pt x="1796769" y="1621681"/>
                    <a:pt x="2097433" y="1620593"/>
                  </a:cubicBezTo>
                  <a:cubicBezTo>
                    <a:pt x="2160135" y="1806085"/>
                    <a:pt x="2226465" y="1999198"/>
                    <a:pt x="2280168" y="2155517"/>
                  </a:cubicBezTo>
                  <a:lnTo>
                    <a:pt x="2308834" y="2238901"/>
                  </a:lnTo>
                  <a:cubicBezTo>
                    <a:pt x="2313623" y="2253053"/>
                    <a:pt x="2318485" y="2267132"/>
                    <a:pt x="2323348" y="2281283"/>
                  </a:cubicBezTo>
                  <a:cubicBezTo>
                    <a:pt x="2051640" y="2287452"/>
                    <a:pt x="1326942" y="2288685"/>
                    <a:pt x="1052549" y="2283460"/>
                  </a:cubicBezTo>
                  <a:cubicBezTo>
                    <a:pt x="1059879" y="2261471"/>
                    <a:pt x="1067281" y="2239627"/>
                    <a:pt x="1074684" y="2217783"/>
                  </a:cubicBezTo>
                  <a:close/>
                  <a:moveTo>
                    <a:pt x="759070" y="3145826"/>
                  </a:moveTo>
                  <a:cubicBezTo>
                    <a:pt x="769956" y="3113750"/>
                    <a:pt x="780915" y="3081746"/>
                    <a:pt x="791800" y="3049742"/>
                  </a:cubicBezTo>
                  <a:lnTo>
                    <a:pt x="799420" y="3027317"/>
                  </a:lnTo>
                  <a:cubicBezTo>
                    <a:pt x="849712" y="2879707"/>
                    <a:pt x="901601" y="2727307"/>
                    <a:pt x="952256" y="2576939"/>
                  </a:cubicBezTo>
                  <a:cubicBezTo>
                    <a:pt x="1418672" y="2577810"/>
                    <a:pt x="1901127" y="2577882"/>
                    <a:pt x="2425601" y="2577084"/>
                  </a:cubicBezTo>
                  <a:cubicBezTo>
                    <a:pt x="2477489" y="2730065"/>
                    <a:pt x="2530394" y="2884279"/>
                    <a:pt x="2584387" y="3041759"/>
                  </a:cubicBezTo>
                  <a:cubicBezTo>
                    <a:pt x="2596506" y="3077101"/>
                    <a:pt x="2608626" y="3112371"/>
                    <a:pt x="2620745" y="3147713"/>
                  </a:cubicBezTo>
                  <a:lnTo>
                    <a:pt x="2630180" y="3175218"/>
                  </a:lnTo>
                  <a:lnTo>
                    <a:pt x="749056" y="3175218"/>
                  </a:lnTo>
                  <a:lnTo>
                    <a:pt x="759070" y="3145826"/>
                  </a:lnTo>
                  <a:close/>
                </a:path>
              </a:pathLst>
            </a:custGeom>
            <a:solidFill>
              <a:srgbClr val="000000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50F055E9-DFE5-4AE6-AC4E-0E12B6EA232D}"/>
              </a:ext>
            </a:extLst>
          </p:cNvPr>
          <p:cNvSpPr txBox="1"/>
          <p:nvPr userDrawn="1"/>
        </p:nvSpPr>
        <p:spPr>
          <a:xfrm>
            <a:off x="1430265" y="1174433"/>
            <a:ext cx="28732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spc="600">
                <a:solidFill>
                  <a:srgbClr val="191919"/>
                </a:solidFill>
              </a:rPr>
              <a:t>SAFETY MOMENT</a:t>
            </a:r>
          </a:p>
        </p:txBody>
      </p:sp>
    </p:spTree>
    <p:extLst>
      <p:ext uri="{BB962C8B-B14F-4D97-AF65-F5344CB8AC3E}">
        <p14:creationId xmlns:p14="http://schemas.microsoft.com/office/powerpoint/2010/main" val="423712899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1B1A7662-0A12-AC4C-9CB8-FB1E4642112C}"/>
              </a:ext>
            </a:extLst>
          </p:cNvPr>
          <p:cNvCxnSpPr/>
          <p:nvPr userDrawn="1"/>
        </p:nvCxnSpPr>
        <p:spPr>
          <a:xfrm>
            <a:off x="0" y="3323900"/>
            <a:ext cx="12192000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1DDD94-83AE-854D-AA85-D405490CA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6A226-FB73-094F-8B9B-9EE2B6DCCC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40E0612C-89FD-7B49-ADA2-BACD6A1B72DC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89193" y="4856159"/>
            <a:ext cx="2515512" cy="1236633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rgbClr val="191919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636D97C9-94BB-0948-BCFE-BE0AA0A87D3C}"/>
              </a:ext>
            </a:extLst>
          </p:cNvPr>
          <p:cNvSpPr>
            <a:spLocks noGrp="1"/>
          </p:cNvSpPr>
          <p:nvPr>
            <p:ph type="body" sz="half" idx="17" hasCustomPrompt="1"/>
          </p:nvPr>
        </p:nvSpPr>
        <p:spPr>
          <a:xfrm>
            <a:off x="0" y="1230515"/>
            <a:ext cx="2515512" cy="771324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2000" b="1" cap="all" baseline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39403089-069E-CE4D-B79A-1EE1D7FC91E7}"/>
              </a:ext>
            </a:extLst>
          </p:cNvPr>
          <p:cNvSpPr>
            <a:spLocks noGrp="1"/>
          </p:cNvSpPr>
          <p:nvPr>
            <p:ph type="body" sz="half" idx="19" hasCustomPrompt="1"/>
          </p:nvPr>
        </p:nvSpPr>
        <p:spPr>
          <a:xfrm>
            <a:off x="3387066" y="4856159"/>
            <a:ext cx="2523503" cy="1236633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rgbClr val="191919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4E04BD8-FB66-C34C-814F-79E5B7B40388}"/>
              </a:ext>
            </a:extLst>
          </p:cNvPr>
          <p:cNvSpPr>
            <a:spLocks noGrp="1"/>
          </p:cNvSpPr>
          <p:nvPr>
            <p:ph type="body" sz="half" idx="20" hasCustomPrompt="1"/>
          </p:nvPr>
        </p:nvSpPr>
        <p:spPr>
          <a:xfrm>
            <a:off x="2348499" y="1238737"/>
            <a:ext cx="2523503" cy="771324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2000" b="1" cap="all" baseline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9A5F5F67-0A8C-7D43-AB5A-51952A483978}"/>
              </a:ext>
            </a:extLst>
          </p:cNvPr>
          <p:cNvSpPr>
            <a:spLocks noGrp="1"/>
          </p:cNvSpPr>
          <p:nvPr>
            <p:ph type="body" sz="half" idx="22" hasCustomPrompt="1"/>
          </p:nvPr>
        </p:nvSpPr>
        <p:spPr>
          <a:xfrm>
            <a:off x="6284938" y="4856159"/>
            <a:ext cx="2520000" cy="1236633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rgbClr val="191919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75D3EE74-B22C-8F43-86B5-2B689E81BCFE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6281834" y="1230515"/>
            <a:ext cx="2520000" cy="771324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2000" b="1" cap="all" baseline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1497E805-37C0-D346-B732-D0E65B094AD6}"/>
              </a:ext>
            </a:extLst>
          </p:cNvPr>
          <p:cNvSpPr>
            <a:spLocks noGrp="1"/>
          </p:cNvSpPr>
          <p:nvPr>
            <p:ph type="body" sz="half" idx="25" hasCustomPrompt="1"/>
          </p:nvPr>
        </p:nvSpPr>
        <p:spPr>
          <a:xfrm>
            <a:off x="9182809" y="4856159"/>
            <a:ext cx="2520000" cy="1236633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rgbClr val="191919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5FD6D98C-43A9-2C46-8BA2-11B0CC601B32}"/>
              </a:ext>
            </a:extLst>
          </p:cNvPr>
          <p:cNvSpPr>
            <a:spLocks noGrp="1"/>
          </p:cNvSpPr>
          <p:nvPr>
            <p:ph type="body" sz="half" idx="26" hasCustomPrompt="1"/>
          </p:nvPr>
        </p:nvSpPr>
        <p:spPr>
          <a:xfrm>
            <a:off x="9182809" y="1236387"/>
            <a:ext cx="2520000" cy="771324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2000" b="1" cap="all" baseline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6AE8A3F-5B79-E84A-ABA2-5B368E0A67AC}"/>
              </a:ext>
            </a:extLst>
          </p:cNvPr>
          <p:cNvGrpSpPr/>
          <p:nvPr userDrawn="1"/>
        </p:nvGrpSpPr>
        <p:grpSpPr>
          <a:xfrm>
            <a:off x="5965074" y="6408183"/>
            <a:ext cx="261852" cy="261455"/>
            <a:chOff x="1830159" y="2890771"/>
            <a:chExt cx="588560" cy="587668"/>
          </a:xfrm>
          <a:solidFill>
            <a:srgbClr val="191919"/>
          </a:solidFill>
        </p:grpSpPr>
        <p:sp>
          <p:nvSpPr>
            <p:cNvPr id="27" name="Rectangle 15">
              <a:extLst>
                <a:ext uri="{FF2B5EF4-FFF2-40B4-BE49-F238E27FC236}">
                  <a16:creationId xmlns:a16="http://schemas.microsoft.com/office/drawing/2014/main" id="{37CB962F-F634-7446-BBC5-D6759E69F87A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tangle 15">
              <a:extLst>
                <a:ext uri="{FF2B5EF4-FFF2-40B4-BE49-F238E27FC236}">
                  <a16:creationId xmlns:a16="http://schemas.microsoft.com/office/drawing/2014/main" id="{BD5B665B-5338-2F4B-80C1-9547E1926251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7" name="Oval 36">
            <a:extLst>
              <a:ext uri="{FF2B5EF4-FFF2-40B4-BE49-F238E27FC236}">
                <a16:creationId xmlns:a16="http://schemas.microsoft.com/office/drawing/2014/main" id="{FBFE3C0D-44E6-47C0-9FF7-614FD2676F8B}"/>
              </a:ext>
            </a:extLst>
          </p:cNvPr>
          <p:cNvSpPr/>
          <p:nvPr userDrawn="1"/>
        </p:nvSpPr>
        <p:spPr>
          <a:xfrm>
            <a:off x="76278" y="2265397"/>
            <a:ext cx="2057400" cy="20574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EB1BAFEA-3FA7-4998-9B05-8B2F0072B710}"/>
              </a:ext>
            </a:extLst>
          </p:cNvPr>
          <p:cNvSpPr/>
          <p:nvPr userDrawn="1"/>
        </p:nvSpPr>
        <p:spPr>
          <a:xfrm>
            <a:off x="2564065" y="2265397"/>
            <a:ext cx="2057400" cy="20574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FF6EF648-A10C-4111-82A7-F94E1E47E242}"/>
              </a:ext>
            </a:extLst>
          </p:cNvPr>
          <p:cNvSpPr/>
          <p:nvPr userDrawn="1"/>
        </p:nvSpPr>
        <p:spPr>
          <a:xfrm>
            <a:off x="5073258" y="2263249"/>
            <a:ext cx="2057400" cy="20574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/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BDFAD854-CA0D-4E59-BDE8-2D4A4B23CB94}"/>
              </a:ext>
            </a:extLst>
          </p:cNvPr>
          <p:cNvSpPr/>
          <p:nvPr userDrawn="1"/>
        </p:nvSpPr>
        <p:spPr>
          <a:xfrm>
            <a:off x="7574693" y="2265397"/>
            <a:ext cx="2057400" cy="20574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/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EFA419DD-7F3B-4189-9F05-719C3B70A063}"/>
              </a:ext>
            </a:extLst>
          </p:cNvPr>
          <p:cNvSpPr>
            <a:spLocks noGrp="1"/>
          </p:cNvSpPr>
          <p:nvPr>
            <p:ph type="body" sz="half" idx="27" hasCustomPrompt="1"/>
          </p:nvPr>
        </p:nvSpPr>
        <p:spPr>
          <a:xfrm>
            <a:off x="5114002" y="2823723"/>
            <a:ext cx="1990560" cy="990202"/>
          </a:xfrm>
        </p:spPr>
        <p:txBody>
          <a:bodyPr anchor="ctr">
            <a:noAutofit/>
          </a:bodyPr>
          <a:lstStyle>
            <a:lvl1pPr marL="0" indent="0" algn="ctr">
              <a:buNone/>
              <a:defRPr sz="2800" b="1" cap="all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date/year</a:t>
            </a:r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A1A63BFD-C66E-46B7-B69C-BC2A681620CF}"/>
              </a:ext>
            </a:extLst>
          </p:cNvPr>
          <p:cNvSpPr>
            <a:spLocks noGrp="1"/>
          </p:cNvSpPr>
          <p:nvPr>
            <p:ph type="body" sz="half" idx="28" hasCustomPrompt="1"/>
          </p:nvPr>
        </p:nvSpPr>
        <p:spPr>
          <a:xfrm>
            <a:off x="2638227" y="2846692"/>
            <a:ext cx="1990560" cy="990202"/>
          </a:xfrm>
        </p:spPr>
        <p:txBody>
          <a:bodyPr anchor="ctr">
            <a:noAutofit/>
          </a:bodyPr>
          <a:lstStyle>
            <a:lvl1pPr marL="0" indent="0" algn="ctr">
              <a:buNone/>
              <a:defRPr sz="2800" b="1" cap="all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date/year</a:t>
            </a: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B948608D-18F7-41FF-93DB-7A77B2A8280D}"/>
              </a:ext>
            </a:extLst>
          </p:cNvPr>
          <p:cNvSpPr>
            <a:spLocks noGrp="1"/>
          </p:cNvSpPr>
          <p:nvPr>
            <p:ph type="body" sz="half" idx="29" hasCustomPrompt="1"/>
          </p:nvPr>
        </p:nvSpPr>
        <p:spPr>
          <a:xfrm>
            <a:off x="148492" y="2846692"/>
            <a:ext cx="1990560" cy="990202"/>
          </a:xfrm>
        </p:spPr>
        <p:txBody>
          <a:bodyPr anchor="ctr">
            <a:noAutofit/>
          </a:bodyPr>
          <a:lstStyle>
            <a:lvl1pPr marL="0" indent="0" algn="ctr">
              <a:buNone/>
              <a:defRPr sz="2800" b="1" cap="all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date/year</a:t>
            </a:r>
          </a:p>
        </p:txBody>
      </p: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190DECF6-1357-4338-8CBF-423CACCD6427}"/>
              </a:ext>
            </a:extLst>
          </p:cNvPr>
          <p:cNvSpPr>
            <a:spLocks noGrp="1"/>
          </p:cNvSpPr>
          <p:nvPr>
            <p:ph type="body" sz="half" idx="30" hasCustomPrompt="1"/>
          </p:nvPr>
        </p:nvSpPr>
        <p:spPr>
          <a:xfrm>
            <a:off x="7651656" y="2844980"/>
            <a:ext cx="1990560" cy="990202"/>
          </a:xfrm>
        </p:spPr>
        <p:txBody>
          <a:bodyPr anchor="ctr">
            <a:noAutofit/>
          </a:bodyPr>
          <a:lstStyle>
            <a:lvl1pPr marL="0" indent="0" algn="ctr">
              <a:buNone/>
              <a:defRPr sz="2800" b="1" cap="all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date/year</a:t>
            </a:r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2ABEBCFA-A15B-403A-A7F0-08D3A5C8D1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151457" y="3111821"/>
            <a:ext cx="372819" cy="424157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1F23F194-344C-41BC-BAAF-EF922A1295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53421" y="3120573"/>
            <a:ext cx="372819" cy="424157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812E3682-C0E1-43FB-A566-B58F0F47E69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156447" y="3111821"/>
            <a:ext cx="372819" cy="424157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245766F3-472C-408C-BED9-17F8CBBDF1D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638186" y="3111821"/>
            <a:ext cx="372819" cy="424157"/>
          </a:xfrm>
          <a:prstGeom prst="rect">
            <a:avLst/>
          </a:prstGeom>
        </p:spPr>
      </p:pic>
      <p:sp>
        <p:nvSpPr>
          <p:cNvPr id="30" name="Oval 29">
            <a:extLst>
              <a:ext uri="{FF2B5EF4-FFF2-40B4-BE49-F238E27FC236}">
                <a16:creationId xmlns:a16="http://schemas.microsoft.com/office/drawing/2014/main" id="{A397ED99-7464-4377-A3D5-31EA7EB57BA8}"/>
              </a:ext>
            </a:extLst>
          </p:cNvPr>
          <p:cNvSpPr/>
          <p:nvPr userDrawn="1"/>
        </p:nvSpPr>
        <p:spPr>
          <a:xfrm>
            <a:off x="10058322" y="2265397"/>
            <a:ext cx="2057400" cy="20574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/>
          </a:p>
        </p:txBody>
      </p:sp>
    </p:spTree>
    <p:extLst>
      <p:ext uri="{BB962C8B-B14F-4D97-AF65-F5344CB8AC3E}">
        <p14:creationId xmlns:p14="http://schemas.microsoft.com/office/powerpoint/2010/main" val="416918206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meline 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1B1A7662-0A12-AC4C-9CB8-FB1E4642112C}"/>
              </a:ext>
            </a:extLst>
          </p:cNvPr>
          <p:cNvCxnSpPr>
            <a:cxnSpLocks/>
          </p:cNvCxnSpPr>
          <p:nvPr userDrawn="1"/>
        </p:nvCxnSpPr>
        <p:spPr>
          <a:xfrm>
            <a:off x="-71181" y="3323900"/>
            <a:ext cx="9010792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1DDD94-83AE-854D-AA85-D405490CA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6A226-FB73-094F-8B9B-9EE2B6DCCC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39403089-069E-CE4D-B79A-1EE1D7FC91E7}"/>
              </a:ext>
            </a:extLst>
          </p:cNvPr>
          <p:cNvSpPr>
            <a:spLocks noGrp="1"/>
          </p:cNvSpPr>
          <p:nvPr>
            <p:ph type="body" sz="half" idx="19" hasCustomPrompt="1"/>
          </p:nvPr>
        </p:nvSpPr>
        <p:spPr>
          <a:xfrm>
            <a:off x="326315" y="4856159"/>
            <a:ext cx="2523503" cy="1236633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rgbClr val="191919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4E04BD8-FB66-C34C-814F-79E5B7B40388}"/>
              </a:ext>
            </a:extLst>
          </p:cNvPr>
          <p:cNvSpPr>
            <a:spLocks noGrp="1"/>
          </p:cNvSpPr>
          <p:nvPr>
            <p:ph type="body" sz="half" idx="20" hasCustomPrompt="1"/>
          </p:nvPr>
        </p:nvSpPr>
        <p:spPr>
          <a:xfrm>
            <a:off x="326313" y="1230515"/>
            <a:ext cx="2523503" cy="771324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2000" b="1" cap="all" baseline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9A5F5F67-0A8C-7D43-AB5A-51952A483978}"/>
              </a:ext>
            </a:extLst>
          </p:cNvPr>
          <p:cNvSpPr>
            <a:spLocks noGrp="1"/>
          </p:cNvSpPr>
          <p:nvPr>
            <p:ph type="body" sz="half" idx="22" hasCustomPrompt="1"/>
          </p:nvPr>
        </p:nvSpPr>
        <p:spPr>
          <a:xfrm>
            <a:off x="3224187" y="4856159"/>
            <a:ext cx="2520000" cy="1236633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rgbClr val="191919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75D3EE74-B22C-8F43-86B5-2B689E81BCFE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3221083" y="1230515"/>
            <a:ext cx="2520000" cy="771324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2000" b="1" cap="all" baseline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1497E805-37C0-D346-B732-D0E65B094AD6}"/>
              </a:ext>
            </a:extLst>
          </p:cNvPr>
          <p:cNvSpPr>
            <a:spLocks noGrp="1"/>
          </p:cNvSpPr>
          <p:nvPr>
            <p:ph type="body" sz="half" idx="25" hasCustomPrompt="1"/>
          </p:nvPr>
        </p:nvSpPr>
        <p:spPr>
          <a:xfrm>
            <a:off x="6122058" y="4856159"/>
            <a:ext cx="2520000" cy="1236633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rgbClr val="191919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5FD6D98C-43A9-2C46-8BA2-11B0CC601B32}"/>
              </a:ext>
            </a:extLst>
          </p:cNvPr>
          <p:cNvSpPr>
            <a:spLocks noGrp="1"/>
          </p:cNvSpPr>
          <p:nvPr>
            <p:ph type="body" sz="half" idx="26" hasCustomPrompt="1"/>
          </p:nvPr>
        </p:nvSpPr>
        <p:spPr>
          <a:xfrm>
            <a:off x="6122058" y="1236387"/>
            <a:ext cx="2520000" cy="771324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2000" b="1" cap="all" baseline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6AE8A3F-5B79-E84A-ABA2-5B368E0A67AC}"/>
              </a:ext>
            </a:extLst>
          </p:cNvPr>
          <p:cNvGrpSpPr/>
          <p:nvPr userDrawn="1"/>
        </p:nvGrpSpPr>
        <p:grpSpPr>
          <a:xfrm>
            <a:off x="5965074" y="6408183"/>
            <a:ext cx="261852" cy="261455"/>
            <a:chOff x="1830159" y="2890771"/>
            <a:chExt cx="588560" cy="587668"/>
          </a:xfrm>
          <a:solidFill>
            <a:srgbClr val="191919"/>
          </a:solidFill>
        </p:grpSpPr>
        <p:sp>
          <p:nvSpPr>
            <p:cNvPr id="27" name="Rectangle 15">
              <a:extLst>
                <a:ext uri="{FF2B5EF4-FFF2-40B4-BE49-F238E27FC236}">
                  <a16:creationId xmlns:a16="http://schemas.microsoft.com/office/drawing/2014/main" id="{37CB962F-F634-7446-BBC5-D6759E69F87A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tangle 15">
              <a:extLst>
                <a:ext uri="{FF2B5EF4-FFF2-40B4-BE49-F238E27FC236}">
                  <a16:creationId xmlns:a16="http://schemas.microsoft.com/office/drawing/2014/main" id="{BD5B665B-5338-2F4B-80C1-9547E1926251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0" name="Oval 39">
            <a:extLst>
              <a:ext uri="{FF2B5EF4-FFF2-40B4-BE49-F238E27FC236}">
                <a16:creationId xmlns:a16="http://schemas.microsoft.com/office/drawing/2014/main" id="{EB1BAFEA-3FA7-4998-9B05-8B2F0072B710}"/>
              </a:ext>
            </a:extLst>
          </p:cNvPr>
          <p:cNvSpPr/>
          <p:nvPr userDrawn="1"/>
        </p:nvSpPr>
        <p:spPr>
          <a:xfrm>
            <a:off x="322744" y="2063899"/>
            <a:ext cx="2520000" cy="252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FF6EF648-A10C-4111-82A7-F94E1E47E242}"/>
              </a:ext>
            </a:extLst>
          </p:cNvPr>
          <p:cNvSpPr/>
          <p:nvPr userDrawn="1"/>
        </p:nvSpPr>
        <p:spPr>
          <a:xfrm>
            <a:off x="3224187" y="2065611"/>
            <a:ext cx="2520000" cy="252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/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BDFAD854-CA0D-4E59-BDE8-2D4A4B23CB94}"/>
              </a:ext>
            </a:extLst>
          </p:cNvPr>
          <p:cNvSpPr/>
          <p:nvPr userDrawn="1"/>
        </p:nvSpPr>
        <p:spPr>
          <a:xfrm>
            <a:off x="6115524" y="2065611"/>
            <a:ext cx="2520000" cy="252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/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EFA419DD-7F3B-4189-9F05-719C3B70A063}"/>
              </a:ext>
            </a:extLst>
          </p:cNvPr>
          <p:cNvSpPr>
            <a:spLocks noGrp="1"/>
          </p:cNvSpPr>
          <p:nvPr>
            <p:ph type="body" sz="half" idx="27" hasCustomPrompt="1"/>
          </p:nvPr>
        </p:nvSpPr>
        <p:spPr>
          <a:xfrm>
            <a:off x="3485803" y="2846692"/>
            <a:ext cx="1990560" cy="990202"/>
          </a:xfrm>
        </p:spPr>
        <p:txBody>
          <a:bodyPr anchor="ctr">
            <a:noAutofit/>
          </a:bodyPr>
          <a:lstStyle>
            <a:lvl1pPr marL="0" indent="0" algn="ctr">
              <a:buNone/>
              <a:defRPr sz="2800" b="1" cap="all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date/year</a:t>
            </a:r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A1A63BFD-C66E-46B7-B69C-BC2A681620CF}"/>
              </a:ext>
            </a:extLst>
          </p:cNvPr>
          <p:cNvSpPr>
            <a:spLocks noGrp="1"/>
          </p:cNvSpPr>
          <p:nvPr>
            <p:ph type="body" sz="half" idx="28" hasCustomPrompt="1"/>
          </p:nvPr>
        </p:nvSpPr>
        <p:spPr>
          <a:xfrm>
            <a:off x="589412" y="2846692"/>
            <a:ext cx="1990560" cy="990202"/>
          </a:xfrm>
        </p:spPr>
        <p:txBody>
          <a:bodyPr anchor="ctr">
            <a:noAutofit/>
          </a:bodyPr>
          <a:lstStyle>
            <a:lvl1pPr marL="0" indent="0" algn="ctr">
              <a:buNone/>
              <a:defRPr sz="2800" b="1" cap="all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date/year</a:t>
            </a:r>
          </a:p>
        </p:txBody>
      </p: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190DECF6-1357-4338-8CBF-423CACCD6427}"/>
              </a:ext>
            </a:extLst>
          </p:cNvPr>
          <p:cNvSpPr>
            <a:spLocks noGrp="1"/>
          </p:cNvSpPr>
          <p:nvPr>
            <p:ph type="body" sz="half" idx="30" hasCustomPrompt="1"/>
          </p:nvPr>
        </p:nvSpPr>
        <p:spPr>
          <a:xfrm>
            <a:off x="6384993" y="2846692"/>
            <a:ext cx="1990560" cy="990202"/>
          </a:xfrm>
        </p:spPr>
        <p:txBody>
          <a:bodyPr anchor="ctr">
            <a:noAutofit/>
          </a:bodyPr>
          <a:lstStyle>
            <a:lvl1pPr marL="0" indent="0" algn="ctr">
              <a:buNone/>
              <a:defRPr sz="2800" b="1" cap="all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date/year</a:t>
            </a: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1F23F194-344C-41BC-BAAF-EF922A1295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422092" y="3111820"/>
            <a:ext cx="372819" cy="424157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812E3682-C0E1-43FB-A566-B58F0F47E69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51406" y="3104906"/>
            <a:ext cx="372819" cy="424157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245766F3-472C-408C-BED9-17F8CBBDF1D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49413" y="3104905"/>
            <a:ext cx="372819" cy="424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380887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r Team A - Single">
    <p:bg>
      <p:bgPr>
        <a:blipFill dpi="0" rotWithShape="1">
          <a:blip r:embed="rId3">
            <a:alphaModFix amt="5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D5CBAED-5B70-42E5-B0DA-4226C41605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1669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D5CBAED-5B70-42E5-B0DA-4226C41605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446AE91E-1E09-48D0-8C26-FBF8413ACCC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27329" y="1431159"/>
            <a:ext cx="3596922" cy="35549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EBB15BB-0CC8-494C-821C-DD690FEBD82D}"/>
              </a:ext>
            </a:extLst>
          </p:cNvPr>
          <p:cNvGrpSpPr/>
          <p:nvPr userDrawn="1"/>
        </p:nvGrpSpPr>
        <p:grpSpPr>
          <a:xfrm>
            <a:off x="5965074" y="6408183"/>
            <a:ext cx="261852" cy="261455"/>
            <a:chOff x="1830159" y="2890771"/>
            <a:chExt cx="588560" cy="587668"/>
          </a:xfrm>
          <a:solidFill>
            <a:srgbClr val="191919"/>
          </a:solidFill>
        </p:grpSpPr>
        <p:sp>
          <p:nvSpPr>
            <p:cNvPr id="21" name="Rectangle 15">
              <a:extLst>
                <a:ext uri="{FF2B5EF4-FFF2-40B4-BE49-F238E27FC236}">
                  <a16:creationId xmlns:a16="http://schemas.microsoft.com/office/drawing/2014/main" id="{B2EA5EC3-CC97-994A-824C-5CD987E37F27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15">
              <a:extLst>
                <a:ext uri="{FF2B5EF4-FFF2-40B4-BE49-F238E27FC236}">
                  <a16:creationId xmlns:a16="http://schemas.microsoft.com/office/drawing/2014/main" id="{386D5E5D-8A69-AD4F-BE60-B67F73BE0C1E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D2AEF65-DE72-0D47-864D-662D3AAE3A68}"/>
              </a:ext>
            </a:extLst>
          </p:cNvPr>
          <p:cNvCxnSpPr>
            <a:cxnSpLocks/>
          </p:cNvCxnSpPr>
          <p:nvPr userDrawn="1"/>
        </p:nvCxnSpPr>
        <p:spPr>
          <a:xfrm>
            <a:off x="838199" y="6288108"/>
            <a:ext cx="10515599" cy="0"/>
          </a:xfrm>
          <a:prstGeom prst="line">
            <a:avLst/>
          </a:prstGeom>
          <a:ln w="19050">
            <a:solidFill>
              <a:srgbClr val="1919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5197D6-0424-E841-8E7C-5CE7BCB142C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48857" y="2297503"/>
            <a:ext cx="6129931" cy="480835"/>
          </a:xfrm>
        </p:spPr>
        <p:txBody>
          <a:bodyPr anchor="ctr">
            <a:noAutofit/>
          </a:bodyPr>
          <a:lstStyle>
            <a:lvl1pPr marL="0" indent="0" algn="l">
              <a:buNone/>
              <a:defRPr sz="1800" b="1" cap="all" baseline="0">
                <a:solidFill>
                  <a:srgbClr val="191919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1DDD94-83AE-854D-AA85-D405490CA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/>
          <a:lstStyle>
            <a:lvl1pPr>
              <a:defRPr cap="all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868D98-9614-6F4D-9879-BC271C28C5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9" y="226219"/>
            <a:ext cx="4576283" cy="365125"/>
          </a:xfrm>
        </p:spPr>
        <p:txBody>
          <a:bodyPr lIns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6A226-FB73-094F-8B9B-9EE2B6DCCC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76EF6082-1C93-4E4C-A5B4-96D07AAD903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833275" y="1527580"/>
            <a:ext cx="3398573" cy="3358868"/>
          </a:xfrm>
          <a:prstGeom prst="ellipse">
            <a:avLst/>
          </a:prstGeom>
          <a:pattFill prst="pct5">
            <a:fgClr>
              <a:schemeClr val="tx1"/>
            </a:fgClr>
            <a:bgClr>
              <a:schemeClr val="bg1">
                <a:lumMod val="95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6A1D00B-E38B-A748-ABEC-7DA25F590C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50507" y="2911916"/>
            <a:ext cx="6693293" cy="29083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191919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95393148-F879-EF4F-A178-7DCFDCA08A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8857" y="1109397"/>
            <a:ext cx="6672326" cy="1119865"/>
          </a:xfrm>
        </p:spPr>
        <p:txBody>
          <a:bodyPr vert="horz" anchor="b">
            <a:noAutofit/>
          </a:bodyPr>
          <a:lstStyle>
            <a:lvl1pPr algn="l">
              <a:defRPr sz="3600" b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81815543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r Team B - 2 People">
    <p:bg>
      <p:bgPr>
        <a:blipFill dpi="0" rotWithShape="1">
          <a:blip r:embed="rId3">
            <a:alphaModFix amt="5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CDEF4B2-DA4E-4406-A2EA-5FD626B36D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9351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CDEF4B2-DA4E-4406-A2EA-5FD626B36D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1DDD94-83AE-854D-AA85-D405490CA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/>
          <a:lstStyle>
            <a:lvl1pPr>
              <a:defRPr cap="all" baseline="0"/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868D98-9614-6F4D-9879-BC271C28C5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226219"/>
            <a:ext cx="10515596" cy="365125"/>
          </a:xfrm>
        </p:spPr>
        <p:txBody>
          <a:bodyPr lIns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6A226-FB73-094F-8B9B-9EE2B6DCCC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5C9607B7-9634-1E46-970F-525E24132EDD}"/>
              </a:ext>
            </a:extLst>
          </p:cNvPr>
          <p:cNvCxnSpPr>
            <a:cxnSpLocks/>
          </p:cNvCxnSpPr>
          <p:nvPr userDrawn="1"/>
        </p:nvCxnSpPr>
        <p:spPr>
          <a:xfrm>
            <a:off x="838199" y="6288108"/>
            <a:ext cx="10515599" cy="0"/>
          </a:xfrm>
          <a:prstGeom prst="line">
            <a:avLst/>
          </a:prstGeom>
          <a:ln w="19050">
            <a:solidFill>
              <a:srgbClr val="1919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itle 1">
            <a:extLst>
              <a:ext uri="{FF2B5EF4-FFF2-40B4-BE49-F238E27FC236}">
                <a16:creationId xmlns:a16="http://schemas.microsoft.com/office/drawing/2014/main" id="{589CEE9B-2B13-9A42-BD4C-0E716D0A7B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478166"/>
            <a:ext cx="2743200" cy="2836861"/>
          </a:xfrm>
        </p:spPr>
        <p:txBody>
          <a:bodyPr vert="horz">
            <a:normAutofit/>
          </a:bodyPr>
          <a:lstStyle>
            <a:lvl1pPr algn="l">
              <a:defRPr sz="3600"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769AF618-FB04-5A46-9DFE-CF5ECFF5CA2B}"/>
              </a:ext>
            </a:extLst>
          </p:cNvPr>
          <p:cNvSpPr>
            <a:spLocks noGrp="1"/>
          </p:cNvSpPr>
          <p:nvPr>
            <p:ph type="body" sz="half" idx="19" hasCustomPrompt="1"/>
          </p:nvPr>
        </p:nvSpPr>
        <p:spPr>
          <a:xfrm>
            <a:off x="3957107" y="5104687"/>
            <a:ext cx="3712357" cy="932037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cap="all" baseline="0">
                <a:solidFill>
                  <a:srgbClr val="191919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B14DED70-C9CB-E443-9DC7-FA7ECAF78C03}"/>
              </a:ext>
            </a:extLst>
          </p:cNvPr>
          <p:cNvSpPr>
            <a:spLocks noGrp="1"/>
          </p:cNvSpPr>
          <p:nvPr>
            <p:ph type="body" sz="half" idx="20" hasCustomPrompt="1"/>
          </p:nvPr>
        </p:nvSpPr>
        <p:spPr>
          <a:xfrm>
            <a:off x="3957107" y="4566412"/>
            <a:ext cx="3712358" cy="475352"/>
          </a:xfrm>
        </p:spPr>
        <p:txBody>
          <a:bodyPr anchor="ctr">
            <a:noAutofit/>
          </a:bodyPr>
          <a:lstStyle>
            <a:lvl1pPr marL="0" indent="0" algn="ctr">
              <a:buNone/>
              <a:defRPr sz="20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5E207054-E6C5-D945-AA40-15AEBA95BAB3}"/>
              </a:ext>
            </a:extLst>
          </p:cNvPr>
          <p:cNvSpPr>
            <a:spLocks noGrp="1"/>
          </p:cNvSpPr>
          <p:nvPr>
            <p:ph type="body" sz="half" idx="38" hasCustomPrompt="1"/>
          </p:nvPr>
        </p:nvSpPr>
        <p:spPr>
          <a:xfrm>
            <a:off x="7875768" y="5104687"/>
            <a:ext cx="3712357" cy="931997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cap="all" baseline="0">
                <a:solidFill>
                  <a:srgbClr val="191919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E919CFCF-6DA5-724E-8143-27C6944EC790}"/>
              </a:ext>
            </a:extLst>
          </p:cNvPr>
          <p:cNvSpPr>
            <a:spLocks noGrp="1"/>
          </p:cNvSpPr>
          <p:nvPr>
            <p:ph type="body" sz="half" idx="39" hasCustomPrompt="1"/>
          </p:nvPr>
        </p:nvSpPr>
        <p:spPr>
          <a:xfrm>
            <a:off x="7875768" y="4566412"/>
            <a:ext cx="3712358" cy="475352"/>
          </a:xfrm>
        </p:spPr>
        <p:txBody>
          <a:bodyPr anchor="ctr">
            <a:noAutofit/>
          </a:bodyPr>
          <a:lstStyle>
            <a:lvl1pPr marL="0" indent="0" algn="ctr">
              <a:buNone/>
              <a:defRPr sz="20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0" name="Picture Placeholder 7">
            <a:extLst>
              <a:ext uri="{FF2B5EF4-FFF2-40B4-BE49-F238E27FC236}">
                <a16:creationId xmlns:a16="http://schemas.microsoft.com/office/drawing/2014/main" id="{F0948B6C-0C09-8744-996B-A470BFFFCE23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957106" y="774810"/>
            <a:ext cx="3712358" cy="3712358"/>
          </a:xfrm>
          <a:prstGeom prst="ellipse">
            <a:avLst/>
          </a:prstGeom>
          <a:pattFill prst="pct5">
            <a:fgClr>
              <a:schemeClr val="accent1"/>
            </a:fgClr>
            <a:bgClr>
              <a:schemeClr val="bg1">
                <a:lumMod val="95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53" name="Picture Placeholder 7">
            <a:extLst>
              <a:ext uri="{FF2B5EF4-FFF2-40B4-BE49-F238E27FC236}">
                <a16:creationId xmlns:a16="http://schemas.microsoft.com/office/drawing/2014/main" id="{EEDE34C9-56FF-614C-BB0D-B33DDADE63B1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7875768" y="774810"/>
            <a:ext cx="3712358" cy="3712358"/>
          </a:xfrm>
          <a:prstGeom prst="ellipse">
            <a:avLst/>
          </a:prstGeom>
          <a:pattFill prst="pct5">
            <a:fgClr>
              <a:schemeClr val="accent1"/>
            </a:fgClr>
            <a:bgClr>
              <a:schemeClr val="bg1">
                <a:lumMod val="95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0CED9803-3FF5-4895-AEA8-99653726A519}"/>
              </a:ext>
            </a:extLst>
          </p:cNvPr>
          <p:cNvGrpSpPr/>
          <p:nvPr userDrawn="1"/>
        </p:nvGrpSpPr>
        <p:grpSpPr>
          <a:xfrm>
            <a:off x="5965074" y="6408183"/>
            <a:ext cx="261852" cy="261455"/>
            <a:chOff x="1830159" y="2890771"/>
            <a:chExt cx="588560" cy="587668"/>
          </a:xfrm>
          <a:solidFill>
            <a:srgbClr val="191919"/>
          </a:solidFill>
        </p:grpSpPr>
        <p:sp>
          <p:nvSpPr>
            <p:cNvPr id="25" name="Rectangle 15">
              <a:extLst>
                <a:ext uri="{FF2B5EF4-FFF2-40B4-BE49-F238E27FC236}">
                  <a16:creationId xmlns:a16="http://schemas.microsoft.com/office/drawing/2014/main" id="{143284C1-65D8-455C-93EB-1AEA05F0D0F4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tangle 15">
              <a:extLst>
                <a:ext uri="{FF2B5EF4-FFF2-40B4-BE49-F238E27FC236}">
                  <a16:creationId xmlns:a16="http://schemas.microsoft.com/office/drawing/2014/main" id="{2D60F965-D67C-402C-9092-E69FFBF85E10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76118927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r Team C - 3 People">
    <p:bg>
      <p:bgPr>
        <a:blipFill dpi="0" rotWithShape="1">
          <a:blip r:embed="rId2">
            <a:alphaModFix amt="5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1DDD94-83AE-854D-AA85-D405490CA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/>
          <a:lstStyle>
            <a:lvl1pPr>
              <a:defRPr cap="all" baseline="0"/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868D98-9614-6F4D-9879-BC271C28C5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226219"/>
            <a:ext cx="10515596" cy="365125"/>
          </a:xfrm>
        </p:spPr>
        <p:txBody>
          <a:bodyPr lIns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6A226-FB73-094F-8B9B-9EE2B6DCCC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39403089-069E-CE4D-B79A-1EE1D7FC91E7}"/>
              </a:ext>
            </a:extLst>
          </p:cNvPr>
          <p:cNvSpPr>
            <a:spLocks noGrp="1"/>
          </p:cNvSpPr>
          <p:nvPr>
            <p:ph type="body" sz="half" idx="19" hasCustomPrompt="1"/>
          </p:nvPr>
        </p:nvSpPr>
        <p:spPr>
          <a:xfrm>
            <a:off x="838202" y="5344975"/>
            <a:ext cx="3242731" cy="823043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cap="all" baseline="0">
                <a:solidFill>
                  <a:srgbClr val="191919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4E04BD8-FB66-C34C-814F-79E5B7B40388}"/>
              </a:ext>
            </a:extLst>
          </p:cNvPr>
          <p:cNvSpPr>
            <a:spLocks noGrp="1"/>
          </p:cNvSpPr>
          <p:nvPr>
            <p:ph type="body" sz="half" idx="20" hasCustomPrompt="1"/>
          </p:nvPr>
        </p:nvSpPr>
        <p:spPr>
          <a:xfrm>
            <a:off x="838200" y="4749550"/>
            <a:ext cx="3242731" cy="549930"/>
          </a:xfrm>
        </p:spPr>
        <p:txBody>
          <a:bodyPr anchor="ctr">
            <a:noAutofit/>
          </a:bodyPr>
          <a:lstStyle>
            <a:lvl1pPr marL="0" indent="0" algn="ctr">
              <a:buNone/>
              <a:defRPr sz="20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1" name="Picture Placeholder 7">
            <a:extLst>
              <a:ext uri="{FF2B5EF4-FFF2-40B4-BE49-F238E27FC236}">
                <a16:creationId xmlns:a16="http://schemas.microsoft.com/office/drawing/2014/main" id="{4A713A3D-2A9B-DF44-AC7A-D2D56EF2FC03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962498" y="1558520"/>
            <a:ext cx="3020221" cy="3020221"/>
          </a:xfrm>
          <a:prstGeom prst="ellipse">
            <a:avLst/>
          </a:prstGeom>
          <a:pattFill prst="pct5">
            <a:fgClr>
              <a:schemeClr val="accent1"/>
            </a:fgClr>
            <a:bgClr>
              <a:schemeClr val="bg1">
                <a:lumMod val="95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DFFF19D8-C335-6849-8525-69A4E3462A6C}"/>
              </a:ext>
            </a:extLst>
          </p:cNvPr>
          <p:cNvSpPr>
            <a:spLocks noGrp="1"/>
          </p:cNvSpPr>
          <p:nvPr>
            <p:ph type="body" sz="half" idx="29" hasCustomPrompt="1"/>
          </p:nvPr>
        </p:nvSpPr>
        <p:spPr>
          <a:xfrm>
            <a:off x="8111067" y="5344975"/>
            <a:ext cx="3242731" cy="806599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cap="all" baseline="0">
                <a:solidFill>
                  <a:srgbClr val="191919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C22D273B-70C7-B049-8966-7C5DCCBF4896}"/>
              </a:ext>
            </a:extLst>
          </p:cNvPr>
          <p:cNvSpPr>
            <a:spLocks noGrp="1"/>
          </p:cNvSpPr>
          <p:nvPr>
            <p:ph type="body" sz="half" idx="30" hasCustomPrompt="1"/>
          </p:nvPr>
        </p:nvSpPr>
        <p:spPr>
          <a:xfrm>
            <a:off x="8111065" y="4749550"/>
            <a:ext cx="3242731" cy="549930"/>
          </a:xfrm>
        </p:spPr>
        <p:txBody>
          <a:bodyPr anchor="ctr">
            <a:noAutofit/>
          </a:bodyPr>
          <a:lstStyle>
            <a:lvl1pPr marL="0" indent="0" algn="ctr">
              <a:buNone/>
              <a:defRPr sz="20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31447E6F-EEA2-6D40-B9BE-4BE2C2B9E8C7}"/>
              </a:ext>
            </a:extLst>
          </p:cNvPr>
          <p:cNvSpPr>
            <a:spLocks noGrp="1"/>
          </p:cNvSpPr>
          <p:nvPr>
            <p:ph type="body" sz="half" idx="32" hasCustomPrompt="1"/>
          </p:nvPr>
        </p:nvSpPr>
        <p:spPr>
          <a:xfrm>
            <a:off x="4475956" y="5344976"/>
            <a:ext cx="3242731" cy="823042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="1" cap="all" baseline="0">
                <a:solidFill>
                  <a:srgbClr val="191919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4" name="Text Placeholder 3">
            <a:extLst>
              <a:ext uri="{FF2B5EF4-FFF2-40B4-BE49-F238E27FC236}">
                <a16:creationId xmlns:a16="http://schemas.microsoft.com/office/drawing/2014/main" id="{43BF8E71-6CB9-C349-9107-4758415D704D}"/>
              </a:ext>
            </a:extLst>
          </p:cNvPr>
          <p:cNvSpPr>
            <a:spLocks noGrp="1"/>
          </p:cNvSpPr>
          <p:nvPr>
            <p:ph type="body" sz="half" idx="33" hasCustomPrompt="1"/>
          </p:nvPr>
        </p:nvSpPr>
        <p:spPr>
          <a:xfrm>
            <a:off x="4475954" y="4749550"/>
            <a:ext cx="3242731" cy="549930"/>
          </a:xfrm>
        </p:spPr>
        <p:txBody>
          <a:bodyPr anchor="ctr">
            <a:noAutofit/>
          </a:bodyPr>
          <a:lstStyle>
            <a:lvl1pPr marL="0" indent="0" algn="ctr">
              <a:buNone/>
              <a:defRPr sz="20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5C9607B7-9634-1E46-970F-525E24132EDD}"/>
              </a:ext>
            </a:extLst>
          </p:cNvPr>
          <p:cNvCxnSpPr>
            <a:cxnSpLocks/>
          </p:cNvCxnSpPr>
          <p:nvPr userDrawn="1"/>
        </p:nvCxnSpPr>
        <p:spPr>
          <a:xfrm>
            <a:off x="838199" y="6288108"/>
            <a:ext cx="10515599" cy="0"/>
          </a:xfrm>
          <a:prstGeom prst="line">
            <a:avLst/>
          </a:prstGeom>
          <a:ln w="19050">
            <a:solidFill>
              <a:srgbClr val="1919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itle 1">
            <a:extLst>
              <a:ext uri="{FF2B5EF4-FFF2-40B4-BE49-F238E27FC236}">
                <a16:creationId xmlns:a16="http://schemas.microsoft.com/office/drawing/2014/main" id="{589CEE9B-2B13-9A42-BD4C-0E716D0A7B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681038"/>
            <a:ext cx="10515600" cy="583740"/>
          </a:xfrm>
        </p:spPr>
        <p:txBody>
          <a:bodyPr>
            <a:noAutofit/>
          </a:bodyPr>
          <a:lstStyle>
            <a:lvl1pPr algn="ctr">
              <a:defRPr sz="3600"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20" name="Picture Placeholder 7">
            <a:extLst>
              <a:ext uri="{FF2B5EF4-FFF2-40B4-BE49-F238E27FC236}">
                <a16:creationId xmlns:a16="http://schemas.microsoft.com/office/drawing/2014/main" id="{24121C87-05A5-2141-8DBB-8C81CB42D67D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4587208" y="1498551"/>
            <a:ext cx="3020221" cy="3020221"/>
          </a:xfrm>
          <a:prstGeom prst="ellipse">
            <a:avLst/>
          </a:prstGeom>
          <a:pattFill prst="pct5">
            <a:fgClr>
              <a:schemeClr val="accent1"/>
            </a:fgClr>
            <a:bgClr>
              <a:schemeClr val="bg1">
                <a:lumMod val="95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3499E21C-E588-F24B-836F-FABA8730A6B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222319" y="1509874"/>
            <a:ext cx="3020221" cy="3020221"/>
          </a:xfrm>
          <a:prstGeom prst="ellipse">
            <a:avLst/>
          </a:prstGeom>
          <a:pattFill prst="pct5">
            <a:fgClr>
              <a:schemeClr val="accent1"/>
            </a:fgClr>
            <a:bgClr>
              <a:schemeClr val="bg1">
                <a:lumMod val="95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473E594-E86F-4D03-955E-94C5B3A8E93E}"/>
              </a:ext>
            </a:extLst>
          </p:cNvPr>
          <p:cNvGrpSpPr/>
          <p:nvPr userDrawn="1"/>
        </p:nvGrpSpPr>
        <p:grpSpPr>
          <a:xfrm>
            <a:off x="5965074" y="6408183"/>
            <a:ext cx="261852" cy="261455"/>
            <a:chOff x="1830159" y="2890771"/>
            <a:chExt cx="588560" cy="587668"/>
          </a:xfrm>
          <a:solidFill>
            <a:srgbClr val="191919"/>
          </a:solidFill>
        </p:grpSpPr>
        <p:sp>
          <p:nvSpPr>
            <p:cNvPr id="23" name="Rectangle 15">
              <a:extLst>
                <a:ext uri="{FF2B5EF4-FFF2-40B4-BE49-F238E27FC236}">
                  <a16:creationId xmlns:a16="http://schemas.microsoft.com/office/drawing/2014/main" id="{F33B6346-2B5D-4DEB-B909-E0EBAAA3E9F9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15">
              <a:extLst>
                <a:ext uri="{FF2B5EF4-FFF2-40B4-BE49-F238E27FC236}">
                  <a16:creationId xmlns:a16="http://schemas.microsoft.com/office/drawing/2014/main" id="{C03F000F-5FCA-4E1D-BCF9-2EF5924EF657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383935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r Team D - 4 People">
    <p:bg>
      <p:bgPr>
        <a:blipFill dpi="0" rotWithShape="1">
          <a:blip r:embed="rId2">
            <a:alphaModFix amt="5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1DDD94-83AE-854D-AA85-D405490CA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/>
          <a:lstStyle>
            <a:lvl1pPr>
              <a:defRPr cap="all" baseline="0"/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868D98-9614-6F4D-9879-BC271C28C5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226219"/>
            <a:ext cx="10515596" cy="365125"/>
          </a:xfrm>
        </p:spPr>
        <p:txBody>
          <a:bodyPr lIns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6A226-FB73-094F-8B9B-9EE2B6DCCC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39403089-069E-CE4D-B79A-1EE1D7FC91E7}"/>
              </a:ext>
            </a:extLst>
          </p:cNvPr>
          <p:cNvSpPr>
            <a:spLocks noGrp="1"/>
          </p:cNvSpPr>
          <p:nvPr>
            <p:ph type="body" sz="half" idx="19" hasCustomPrompt="1"/>
          </p:nvPr>
        </p:nvSpPr>
        <p:spPr>
          <a:xfrm>
            <a:off x="838202" y="4805291"/>
            <a:ext cx="2349499" cy="1071417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 cap="all" baseline="0">
                <a:solidFill>
                  <a:srgbClr val="191919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4E04BD8-FB66-C34C-814F-79E5B7B40388}"/>
              </a:ext>
            </a:extLst>
          </p:cNvPr>
          <p:cNvSpPr>
            <a:spLocks noGrp="1"/>
          </p:cNvSpPr>
          <p:nvPr>
            <p:ph type="body" sz="half" idx="20" hasCustomPrompt="1"/>
          </p:nvPr>
        </p:nvSpPr>
        <p:spPr>
          <a:xfrm>
            <a:off x="838200" y="4209863"/>
            <a:ext cx="2349499" cy="527183"/>
          </a:xfrm>
        </p:spPr>
        <p:txBody>
          <a:bodyPr anchor="ctr">
            <a:noAutofit/>
          </a:bodyPr>
          <a:lstStyle>
            <a:lvl1pPr marL="0" indent="0" algn="ctr">
              <a:buNone/>
              <a:defRPr sz="20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1" name="Picture Placeholder 7">
            <a:extLst>
              <a:ext uri="{FF2B5EF4-FFF2-40B4-BE49-F238E27FC236}">
                <a16:creationId xmlns:a16="http://schemas.microsoft.com/office/drawing/2014/main" id="{4A713A3D-2A9B-DF44-AC7A-D2D56EF2FC03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38199" y="1678792"/>
            <a:ext cx="2349499" cy="2349499"/>
          </a:xfrm>
          <a:prstGeom prst="ellipse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5C9607B7-9634-1E46-970F-525E24132EDD}"/>
              </a:ext>
            </a:extLst>
          </p:cNvPr>
          <p:cNvCxnSpPr>
            <a:cxnSpLocks/>
          </p:cNvCxnSpPr>
          <p:nvPr userDrawn="1"/>
        </p:nvCxnSpPr>
        <p:spPr>
          <a:xfrm>
            <a:off x="838199" y="6288108"/>
            <a:ext cx="10515599" cy="0"/>
          </a:xfrm>
          <a:prstGeom prst="line">
            <a:avLst/>
          </a:prstGeom>
          <a:ln w="19050">
            <a:solidFill>
              <a:srgbClr val="1919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itle 1">
            <a:extLst>
              <a:ext uri="{FF2B5EF4-FFF2-40B4-BE49-F238E27FC236}">
                <a16:creationId xmlns:a16="http://schemas.microsoft.com/office/drawing/2014/main" id="{589CEE9B-2B13-9A42-BD4C-0E716D0A7B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681038"/>
            <a:ext cx="10515600" cy="583740"/>
          </a:xfrm>
        </p:spPr>
        <p:txBody>
          <a:bodyPr>
            <a:noAutofit/>
          </a:bodyPr>
          <a:lstStyle>
            <a:lvl1pPr algn="ctr">
              <a:defRPr sz="3600"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5DFCF35-AED1-FC4F-BEAF-2C474C43803C}"/>
              </a:ext>
            </a:extLst>
          </p:cNvPr>
          <p:cNvSpPr>
            <a:spLocks noGrp="1"/>
          </p:cNvSpPr>
          <p:nvPr>
            <p:ph type="body" sz="half" idx="29" hasCustomPrompt="1"/>
          </p:nvPr>
        </p:nvSpPr>
        <p:spPr>
          <a:xfrm>
            <a:off x="3560232" y="4805290"/>
            <a:ext cx="2349499" cy="1062483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 cap="all" baseline="0">
                <a:solidFill>
                  <a:srgbClr val="191919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027ABE93-E305-104C-8B04-FB646423733D}"/>
              </a:ext>
            </a:extLst>
          </p:cNvPr>
          <p:cNvSpPr>
            <a:spLocks noGrp="1"/>
          </p:cNvSpPr>
          <p:nvPr>
            <p:ph type="body" sz="half" idx="30" hasCustomPrompt="1"/>
          </p:nvPr>
        </p:nvSpPr>
        <p:spPr>
          <a:xfrm>
            <a:off x="3560230" y="4209864"/>
            <a:ext cx="2349499" cy="527182"/>
          </a:xfrm>
        </p:spPr>
        <p:txBody>
          <a:bodyPr anchor="ctr">
            <a:noAutofit/>
          </a:bodyPr>
          <a:lstStyle>
            <a:lvl1pPr marL="0" indent="0" algn="ctr">
              <a:buNone/>
              <a:defRPr sz="20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2" name="Picture Placeholder 7">
            <a:extLst>
              <a:ext uri="{FF2B5EF4-FFF2-40B4-BE49-F238E27FC236}">
                <a16:creationId xmlns:a16="http://schemas.microsoft.com/office/drawing/2014/main" id="{8A5D1F8B-277F-2E44-8392-9C3742C8918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560232" y="1676177"/>
            <a:ext cx="2349499" cy="2349499"/>
          </a:xfrm>
          <a:prstGeom prst="ellipse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BCA62C6D-AE80-2444-A4F6-D29F50444D47}"/>
              </a:ext>
            </a:extLst>
          </p:cNvPr>
          <p:cNvSpPr>
            <a:spLocks noGrp="1"/>
          </p:cNvSpPr>
          <p:nvPr>
            <p:ph type="body" sz="half" idx="32" hasCustomPrompt="1"/>
          </p:nvPr>
        </p:nvSpPr>
        <p:spPr>
          <a:xfrm>
            <a:off x="9004300" y="4805291"/>
            <a:ext cx="2349499" cy="1062482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 cap="all" baseline="0">
                <a:solidFill>
                  <a:srgbClr val="191919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AE1D90F8-D62B-B940-A5BA-18DFFDC74AE9}"/>
              </a:ext>
            </a:extLst>
          </p:cNvPr>
          <p:cNvSpPr>
            <a:spLocks noGrp="1"/>
          </p:cNvSpPr>
          <p:nvPr>
            <p:ph type="body" sz="half" idx="33" hasCustomPrompt="1"/>
          </p:nvPr>
        </p:nvSpPr>
        <p:spPr>
          <a:xfrm>
            <a:off x="9004298" y="4209863"/>
            <a:ext cx="2349499" cy="527175"/>
          </a:xfrm>
        </p:spPr>
        <p:txBody>
          <a:bodyPr anchor="ctr">
            <a:noAutofit/>
          </a:bodyPr>
          <a:lstStyle>
            <a:lvl1pPr marL="0" indent="0" algn="ctr">
              <a:buNone/>
              <a:defRPr sz="20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5" name="Picture Placeholder 7">
            <a:extLst>
              <a:ext uri="{FF2B5EF4-FFF2-40B4-BE49-F238E27FC236}">
                <a16:creationId xmlns:a16="http://schemas.microsoft.com/office/drawing/2014/main" id="{E0A03BA4-B4E8-7B44-9CAE-9407B8307958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6282264" y="1676177"/>
            <a:ext cx="2349499" cy="2349499"/>
          </a:xfrm>
          <a:prstGeom prst="ellipse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FF3DFD3A-3B13-E049-90AC-2DAE8D441921}"/>
              </a:ext>
            </a:extLst>
          </p:cNvPr>
          <p:cNvSpPr>
            <a:spLocks noGrp="1"/>
          </p:cNvSpPr>
          <p:nvPr>
            <p:ph type="body" sz="half" idx="35" hasCustomPrompt="1"/>
          </p:nvPr>
        </p:nvSpPr>
        <p:spPr>
          <a:xfrm>
            <a:off x="6282267" y="4805291"/>
            <a:ext cx="2349499" cy="1062482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 cap="all" baseline="0">
                <a:solidFill>
                  <a:srgbClr val="191919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D15E19C1-633F-1C41-A301-1858B0849AC0}"/>
              </a:ext>
            </a:extLst>
          </p:cNvPr>
          <p:cNvSpPr>
            <a:spLocks noGrp="1"/>
          </p:cNvSpPr>
          <p:nvPr>
            <p:ph type="body" sz="half" idx="36" hasCustomPrompt="1"/>
          </p:nvPr>
        </p:nvSpPr>
        <p:spPr>
          <a:xfrm>
            <a:off x="6282265" y="4209863"/>
            <a:ext cx="2349499" cy="527179"/>
          </a:xfrm>
        </p:spPr>
        <p:txBody>
          <a:bodyPr anchor="ctr">
            <a:noAutofit/>
          </a:bodyPr>
          <a:lstStyle>
            <a:lvl1pPr marL="0" indent="0" algn="ctr">
              <a:buNone/>
              <a:defRPr sz="20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3" name="Picture Placeholder 7">
            <a:extLst>
              <a:ext uri="{FF2B5EF4-FFF2-40B4-BE49-F238E27FC236}">
                <a16:creationId xmlns:a16="http://schemas.microsoft.com/office/drawing/2014/main" id="{D05D337D-D343-6547-B271-C5AADF2B8C25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9004301" y="1676177"/>
            <a:ext cx="2349499" cy="2349499"/>
          </a:xfrm>
          <a:prstGeom prst="ellipse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2B328438-FB48-4ECA-9657-6B1928F1A89D}"/>
              </a:ext>
            </a:extLst>
          </p:cNvPr>
          <p:cNvGrpSpPr/>
          <p:nvPr userDrawn="1"/>
        </p:nvGrpSpPr>
        <p:grpSpPr>
          <a:xfrm>
            <a:off x="5965074" y="6408183"/>
            <a:ext cx="261852" cy="261455"/>
            <a:chOff x="1830159" y="2890771"/>
            <a:chExt cx="588560" cy="587668"/>
          </a:xfrm>
          <a:solidFill>
            <a:srgbClr val="191919"/>
          </a:solidFill>
        </p:grpSpPr>
        <p:sp>
          <p:nvSpPr>
            <p:cNvPr id="37" name="Rectangle 15">
              <a:extLst>
                <a:ext uri="{FF2B5EF4-FFF2-40B4-BE49-F238E27FC236}">
                  <a16:creationId xmlns:a16="http://schemas.microsoft.com/office/drawing/2014/main" id="{D4DFEC8C-3B9F-459B-BBD4-EAC8C5A7F2DD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15">
              <a:extLst>
                <a:ext uri="{FF2B5EF4-FFF2-40B4-BE49-F238E27FC236}">
                  <a16:creationId xmlns:a16="http://schemas.microsoft.com/office/drawing/2014/main" id="{E0DD0240-5B4D-41E0-90A1-5C7168498FC1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97168235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r Team E - 8 People">
    <p:bg>
      <p:bgPr>
        <a:blipFill dpi="0" rotWithShape="1">
          <a:blip r:embed="rId2">
            <a:alphaModFix amt="5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1DDD94-83AE-854D-AA85-D405490CA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868D98-9614-6F4D-9879-BC271C28C5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226219"/>
            <a:ext cx="10515596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6A226-FB73-094F-8B9B-9EE2B6DCCC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39403089-069E-CE4D-B79A-1EE1D7FC91E7}"/>
              </a:ext>
            </a:extLst>
          </p:cNvPr>
          <p:cNvSpPr>
            <a:spLocks noGrp="1"/>
          </p:cNvSpPr>
          <p:nvPr>
            <p:ph type="body" sz="half" idx="19" hasCustomPrompt="1"/>
          </p:nvPr>
        </p:nvSpPr>
        <p:spPr>
          <a:xfrm>
            <a:off x="1011688" y="3294838"/>
            <a:ext cx="2253396" cy="407461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200" b="0" cap="all" baseline="0">
                <a:solidFill>
                  <a:srgbClr val="191919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4E04BD8-FB66-C34C-814F-79E5B7B40388}"/>
              </a:ext>
            </a:extLst>
          </p:cNvPr>
          <p:cNvSpPr>
            <a:spLocks noGrp="1"/>
          </p:cNvSpPr>
          <p:nvPr>
            <p:ph type="body" sz="half" idx="20" hasCustomPrompt="1"/>
          </p:nvPr>
        </p:nvSpPr>
        <p:spPr>
          <a:xfrm>
            <a:off x="1011688" y="2972630"/>
            <a:ext cx="2253396" cy="322207"/>
          </a:xfrm>
        </p:spPr>
        <p:txBody>
          <a:bodyPr anchor="ctr">
            <a:noAutofit/>
          </a:bodyPr>
          <a:lstStyle>
            <a:lvl1pPr marL="0" indent="0" algn="ctr">
              <a:buNone/>
              <a:defRPr sz="14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1" name="Picture Placeholder 7">
            <a:extLst>
              <a:ext uri="{FF2B5EF4-FFF2-40B4-BE49-F238E27FC236}">
                <a16:creationId xmlns:a16="http://schemas.microsoft.com/office/drawing/2014/main" id="{4A713A3D-2A9B-DF44-AC7A-D2D56EF2FC03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1388308" y="1431644"/>
            <a:ext cx="1505870" cy="1505870"/>
          </a:xfrm>
          <a:prstGeom prst="ellipse">
            <a:avLst/>
          </a:prstGeom>
          <a:pattFill prst="pct5">
            <a:fgClr>
              <a:schemeClr val="accent1"/>
            </a:fgClr>
            <a:bgClr>
              <a:schemeClr val="bg1">
                <a:lumMod val="95000"/>
              </a:schemeClr>
            </a:bgClr>
          </a:patt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Click to add picture</a:t>
            </a: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5C9607B7-9634-1E46-970F-525E24132EDD}"/>
              </a:ext>
            </a:extLst>
          </p:cNvPr>
          <p:cNvCxnSpPr>
            <a:cxnSpLocks/>
          </p:cNvCxnSpPr>
          <p:nvPr userDrawn="1"/>
        </p:nvCxnSpPr>
        <p:spPr>
          <a:xfrm>
            <a:off x="838199" y="6288108"/>
            <a:ext cx="10515599" cy="0"/>
          </a:xfrm>
          <a:prstGeom prst="line">
            <a:avLst/>
          </a:prstGeom>
          <a:ln w="19050">
            <a:solidFill>
              <a:srgbClr val="1919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itle 1">
            <a:extLst>
              <a:ext uri="{FF2B5EF4-FFF2-40B4-BE49-F238E27FC236}">
                <a16:creationId xmlns:a16="http://schemas.microsoft.com/office/drawing/2014/main" id="{589CEE9B-2B13-9A42-BD4C-0E716D0A7B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681038"/>
            <a:ext cx="10515600" cy="583740"/>
          </a:xfrm>
        </p:spPr>
        <p:txBody>
          <a:bodyPr>
            <a:noAutofit/>
          </a:bodyPr>
          <a:lstStyle>
            <a:lvl1pPr algn="ctr">
              <a:defRPr sz="3600"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7E9F0BC6-6AD3-5548-9CCA-E2ADDF4AE8F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924922" y="1419503"/>
            <a:ext cx="1505870" cy="1505870"/>
          </a:xfrm>
          <a:prstGeom prst="ellipse">
            <a:avLst/>
          </a:prstGeom>
          <a:pattFill prst="pct5">
            <a:fgClr>
              <a:schemeClr val="accent1"/>
            </a:fgClr>
            <a:bgClr>
              <a:schemeClr val="bg1">
                <a:lumMod val="95000"/>
              </a:schemeClr>
            </a:bgClr>
          </a:patt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45" name="Picture Placeholder 7">
            <a:extLst>
              <a:ext uri="{FF2B5EF4-FFF2-40B4-BE49-F238E27FC236}">
                <a16:creationId xmlns:a16="http://schemas.microsoft.com/office/drawing/2014/main" id="{F2250B38-DD50-C344-8B61-8ED7DF5DBAD4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6453421" y="1419503"/>
            <a:ext cx="1505870" cy="1505870"/>
          </a:xfrm>
          <a:prstGeom prst="ellipse">
            <a:avLst/>
          </a:prstGeom>
          <a:pattFill prst="pct5">
            <a:fgClr>
              <a:schemeClr val="accent1"/>
            </a:fgClr>
            <a:bgClr>
              <a:schemeClr val="bg1">
                <a:lumMod val="95000"/>
              </a:schemeClr>
            </a:bgClr>
          </a:patt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50" name="Picture Placeholder 7">
            <a:extLst>
              <a:ext uri="{FF2B5EF4-FFF2-40B4-BE49-F238E27FC236}">
                <a16:creationId xmlns:a16="http://schemas.microsoft.com/office/drawing/2014/main" id="{1912A544-CF2C-A34A-B572-CE1D7E8E9436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8987406" y="1408122"/>
            <a:ext cx="1505870" cy="1505870"/>
          </a:xfrm>
          <a:prstGeom prst="ellipse">
            <a:avLst/>
          </a:prstGeom>
          <a:pattFill prst="pct5">
            <a:fgClr>
              <a:schemeClr val="accent1"/>
            </a:fgClr>
            <a:bgClr>
              <a:schemeClr val="bg1">
                <a:lumMod val="95000"/>
              </a:schemeClr>
            </a:bgClr>
          </a:patt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53" name="Picture Placeholder 7">
            <a:extLst>
              <a:ext uri="{FF2B5EF4-FFF2-40B4-BE49-F238E27FC236}">
                <a16:creationId xmlns:a16="http://schemas.microsoft.com/office/drawing/2014/main" id="{0E2B3F87-7AF1-F94C-B4CD-DC927E13BED9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1385451" y="3844552"/>
            <a:ext cx="1505870" cy="1505870"/>
          </a:xfrm>
          <a:prstGeom prst="ellipse">
            <a:avLst/>
          </a:prstGeom>
          <a:pattFill prst="pct5">
            <a:fgClr>
              <a:schemeClr val="accent1"/>
            </a:fgClr>
            <a:bgClr>
              <a:schemeClr val="bg1">
                <a:lumMod val="95000"/>
              </a:schemeClr>
            </a:bgClr>
          </a:patt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56" name="Picture Placeholder 7">
            <a:extLst>
              <a:ext uri="{FF2B5EF4-FFF2-40B4-BE49-F238E27FC236}">
                <a16:creationId xmlns:a16="http://schemas.microsoft.com/office/drawing/2014/main" id="{4E1A42CD-95A7-084C-B2CA-4F1D472BCEDE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3924922" y="3834400"/>
            <a:ext cx="1505870" cy="1505870"/>
          </a:xfrm>
          <a:prstGeom prst="ellipse">
            <a:avLst/>
          </a:prstGeom>
          <a:pattFill prst="pct5">
            <a:fgClr>
              <a:schemeClr val="accent1"/>
            </a:fgClr>
            <a:bgClr>
              <a:schemeClr val="bg1">
                <a:lumMod val="95000"/>
              </a:schemeClr>
            </a:bgClr>
          </a:patt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59" name="Picture Placeholder 7">
            <a:extLst>
              <a:ext uri="{FF2B5EF4-FFF2-40B4-BE49-F238E27FC236}">
                <a16:creationId xmlns:a16="http://schemas.microsoft.com/office/drawing/2014/main" id="{C9DDC234-3589-9F4C-A4FE-CE281193C0D0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6451381" y="3822144"/>
            <a:ext cx="1505870" cy="1505870"/>
          </a:xfrm>
          <a:prstGeom prst="ellipse">
            <a:avLst/>
          </a:prstGeom>
          <a:pattFill prst="pct5">
            <a:fgClr>
              <a:schemeClr val="accent1"/>
            </a:fgClr>
            <a:bgClr>
              <a:schemeClr val="bg1">
                <a:lumMod val="95000"/>
              </a:schemeClr>
            </a:bgClr>
          </a:patt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62" name="Picture Placeholder 7">
            <a:extLst>
              <a:ext uri="{FF2B5EF4-FFF2-40B4-BE49-F238E27FC236}">
                <a16:creationId xmlns:a16="http://schemas.microsoft.com/office/drawing/2014/main" id="{569BC76F-A2EC-8E40-929A-0049EA8132E6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9000580" y="3822259"/>
            <a:ext cx="1505870" cy="1505870"/>
          </a:xfrm>
          <a:prstGeom prst="ellipse">
            <a:avLst/>
          </a:prstGeom>
          <a:pattFill prst="pct5">
            <a:fgClr>
              <a:schemeClr val="accent1"/>
            </a:fgClr>
            <a:bgClr>
              <a:schemeClr val="bg1">
                <a:lumMod val="95000"/>
              </a:schemeClr>
            </a:bgClr>
          </a:patt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77" name="Text Placeholder 3">
            <a:extLst>
              <a:ext uri="{FF2B5EF4-FFF2-40B4-BE49-F238E27FC236}">
                <a16:creationId xmlns:a16="http://schemas.microsoft.com/office/drawing/2014/main" id="{D5C4CFAE-5C59-43CB-B2C2-35E1E72372FB}"/>
              </a:ext>
            </a:extLst>
          </p:cNvPr>
          <p:cNvSpPr>
            <a:spLocks noGrp="1"/>
          </p:cNvSpPr>
          <p:nvPr>
            <p:ph type="body" sz="half" idx="64" hasCustomPrompt="1"/>
          </p:nvPr>
        </p:nvSpPr>
        <p:spPr>
          <a:xfrm>
            <a:off x="3554638" y="3297343"/>
            <a:ext cx="2253396" cy="407461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200" b="0" cap="all" baseline="0">
                <a:solidFill>
                  <a:srgbClr val="191919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78" name="Text Placeholder 3">
            <a:extLst>
              <a:ext uri="{FF2B5EF4-FFF2-40B4-BE49-F238E27FC236}">
                <a16:creationId xmlns:a16="http://schemas.microsoft.com/office/drawing/2014/main" id="{B1B4B128-356E-4EEB-A934-131916DC4D54}"/>
              </a:ext>
            </a:extLst>
          </p:cNvPr>
          <p:cNvSpPr>
            <a:spLocks noGrp="1"/>
          </p:cNvSpPr>
          <p:nvPr>
            <p:ph type="body" sz="half" idx="65" hasCustomPrompt="1"/>
          </p:nvPr>
        </p:nvSpPr>
        <p:spPr>
          <a:xfrm>
            <a:off x="3554638" y="2975135"/>
            <a:ext cx="2253396" cy="322207"/>
          </a:xfrm>
        </p:spPr>
        <p:txBody>
          <a:bodyPr anchor="ctr">
            <a:noAutofit/>
          </a:bodyPr>
          <a:lstStyle>
            <a:lvl1pPr marL="0" indent="0" algn="ctr">
              <a:buNone/>
              <a:defRPr sz="14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79" name="Text Placeholder 3">
            <a:extLst>
              <a:ext uri="{FF2B5EF4-FFF2-40B4-BE49-F238E27FC236}">
                <a16:creationId xmlns:a16="http://schemas.microsoft.com/office/drawing/2014/main" id="{FA059C7D-62B8-42D3-887E-23A7E40ED810}"/>
              </a:ext>
            </a:extLst>
          </p:cNvPr>
          <p:cNvSpPr>
            <a:spLocks noGrp="1"/>
          </p:cNvSpPr>
          <p:nvPr>
            <p:ph type="body" sz="half" idx="66" hasCustomPrompt="1"/>
          </p:nvPr>
        </p:nvSpPr>
        <p:spPr>
          <a:xfrm>
            <a:off x="6079658" y="3299848"/>
            <a:ext cx="2253396" cy="407461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200" b="0" cap="all" baseline="0">
                <a:solidFill>
                  <a:srgbClr val="191919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80" name="Text Placeholder 3">
            <a:extLst>
              <a:ext uri="{FF2B5EF4-FFF2-40B4-BE49-F238E27FC236}">
                <a16:creationId xmlns:a16="http://schemas.microsoft.com/office/drawing/2014/main" id="{A3F1B6B8-765A-418F-8DCF-CFAE9F0D3654}"/>
              </a:ext>
            </a:extLst>
          </p:cNvPr>
          <p:cNvSpPr>
            <a:spLocks noGrp="1"/>
          </p:cNvSpPr>
          <p:nvPr>
            <p:ph type="body" sz="half" idx="67" hasCustomPrompt="1"/>
          </p:nvPr>
        </p:nvSpPr>
        <p:spPr>
          <a:xfrm>
            <a:off x="6079658" y="2977640"/>
            <a:ext cx="2253396" cy="322207"/>
          </a:xfrm>
        </p:spPr>
        <p:txBody>
          <a:bodyPr anchor="ctr">
            <a:noAutofit/>
          </a:bodyPr>
          <a:lstStyle>
            <a:lvl1pPr marL="0" indent="0" algn="ctr">
              <a:buNone/>
              <a:defRPr sz="14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83" name="Text Placeholder 3">
            <a:extLst>
              <a:ext uri="{FF2B5EF4-FFF2-40B4-BE49-F238E27FC236}">
                <a16:creationId xmlns:a16="http://schemas.microsoft.com/office/drawing/2014/main" id="{D0B607F4-29DA-4352-844E-B9BD34C0BEB4}"/>
              </a:ext>
            </a:extLst>
          </p:cNvPr>
          <p:cNvSpPr>
            <a:spLocks noGrp="1"/>
          </p:cNvSpPr>
          <p:nvPr>
            <p:ph type="body" sz="half" idx="68" hasCustomPrompt="1"/>
          </p:nvPr>
        </p:nvSpPr>
        <p:spPr>
          <a:xfrm>
            <a:off x="8613643" y="3294838"/>
            <a:ext cx="2253396" cy="407461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200" b="0" cap="all" baseline="0">
                <a:solidFill>
                  <a:srgbClr val="191919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84" name="Text Placeholder 3">
            <a:extLst>
              <a:ext uri="{FF2B5EF4-FFF2-40B4-BE49-F238E27FC236}">
                <a16:creationId xmlns:a16="http://schemas.microsoft.com/office/drawing/2014/main" id="{008B3F23-4F0B-4ABC-97A4-2A817A0C0A27}"/>
              </a:ext>
            </a:extLst>
          </p:cNvPr>
          <p:cNvSpPr>
            <a:spLocks noGrp="1"/>
          </p:cNvSpPr>
          <p:nvPr>
            <p:ph type="body" sz="half" idx="69" hasCustomPrompt="1"/>
          </p:nvPr>
        </p:nvSpPr>
        <p:spPr>
          <a:xfrm>
            <a:off x="8613643" y="2972630"/>
            <a:ext cx="2253396" cy="322207"/>
          </a:xfrm>
        </p:spPr>
        <p:txBody>
          <a:bodyPr anchor="ctr">
            <a:noAutofit/>
          </a:bodyPr>
          <a:lstStyle>
            <a:lvl1pPr marL="0" indent="0" algn="ctr">
              <a:buNone/>
              <a:defRPr sz="14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85" name="Text Placeholder 3">
            <a:extLst>
              <a:ext uri="{FF2B5EF4-FFF2-40B4-BE49-F238E27FC236}">
                <a16:creationId xmlns:a16="http://schemas.microsoft.com/office/drawing/2014/main" id="{40535AE8-EA79-4C18-9F52-F7C53755E9DA}"/>
              </a:ext>
            </a:extLst>
          </p:cNvPr>
          <p:cNvSpPr>
            <a:spLocks noGrp="1"/>
          </p:cNvSpPr>
          <p:nvPr>
            <p:ph type="body" sz="half" idx="70" hasCustomPrompt="1"/>
          </p:nvPr>
        </p:nvSpPr>
        <p:spPr>
          <a:xfrm>
            <a:off x="1011688" y="5716626"/>
            <a:ext cx="2253396" cy="407461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200" b="0" cap="all" baseline="0">
                <a:solidFill>
                  <a:srgbClr val="191919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86" name="Text Placeholder 3">
            <a:extLst>
              <a:ext uri="{FF2B5EF4-FFF2-40B4-BE49-F238E27FC236}">
                <a16:creationId xmlns:a16="http://schemas.microsoft.com/office/drawing/2014/main" id="{D3C75F2D-9E92-4AC7-B1C4-8262512F73F1}"/>
              </a:ext>
            </a:extLst>
          </p:cNvPr>
          <p:cNvSpPr>
            <a:spLocks noGrp="1"/>
          </p:cNvSpPr>
          <p:nvPr>
            <p:ph type="body" sz="half" idx="71" hasCustomPrompt="1"/>
          </p:nvPr>
        </p:nvSpPr>
        <p:spPr>
          <a:xfrm>
            <a:off x="1011688" y="5394418"/>
            <a:ext cx="2253396" cy="322207"/>
          </a:xfrm>
        </p:spPr>
        <p:txBody>
          <a:bodyPr anchor="ctr">
            <a:noAutofit/>
          </a:bodyPr>
          <a:lstStyle>
            <a:lvl1pPr marL="0" indent="0" algn="ctr">
              <a:buNone/>
              <a:defRPr sz="14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87" name="Text Placeholder 3">
            <a:extLst>
              <a:ext uri="{FF2B5EF4-FFF2-40B4-BE49-F238E27FC236}">
                <a16:creationId xmlns:a16="http://schemas.microsoft.com/office/drawing/2014/main" id="{96791E33-3483-4029-8E19-EA88E5E2EF5E}"/>
              </a:ext>
            </a:extLst>
          </p:cNvPr>
          <p:cNvSpPr>
            <a:spLocks noGrp="1"/>
          </p:cNvSpPr>
          <p:nvPr>
            <p:ph type="body" sz="half" idx="72" hasCustomPrompt="1"/>
          </p:nvPr>
        </p:nvSpPr>
        <p:spPr>
          <a:xfrm>
            <a:off x="3554638" y="5719131"/>
            <a:ext cx="2253396" cy="407461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200" b="0" cap="all" baseline="0">
                <a:solidFill>
                  <a:srgbClr val="191919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88" name="Text Placeholder 3">
            <a:extLst>
              <a:ext uri="{FF2B5EF4-FFF2-40B4-BE49-F238E27FC236}">
                <a16:creationId xmlns:a16="http://schemas.microsoft.com/office/drawing/2014/main" id="{98CBBB62-209D-438B-A845-CE746F257858}"/>
              </a:ext>
            </a:extLst>
          </p:cNvPr>
          <p:cNvSpPr>
            <a:spLocks noGrp="1"/>
          </p:cNvSpPr>
          <p:nvPr>
            <p:ph type="body" sz="half" idx="73" hasCustomPrompt="1"/>
          </p:nvPr>
        </p:nvSpPr>
        <p:spPr>
          <a:xfrm>
            <a:off x="3554638" y="5396923"/>
            <a:ext cx="2253396" cy="322207"/>
          </a:xfrm>
        </p:spPr>
        <p:txBody>
          <a:bodyPr anchor="ctr">
            <a:noAutofit/>
          </a:bodyPr>
          <a:lstStyle>
            <a:lvl1pPr marL="0" indent="0" algn="ctr">
              <a:buNone/>
              <a:defRPr sz="14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89" name="Text Placeholder 3">
            <a:extLst>
              <a:ext uri="{FF2B5EF4-FFF2-40B4-BE49-F238E27FC236}">
                <a16:creationId xmlns:a16="http://schemas.microsoft.com/office/drawing/2014/main" id="{51437703-16F7-4B77-9778-877D8B23F0BA}"/>
              </a:ext>
            </a:extLst>
          </p:cNvPr>
          <p:cNvSpPr>
            <a:spLocks noGrp="1"/>
          </p:cNvSpPr>
          <p:nvPr>
            <p:ph type="body" sz="half" idx="74" hasCustomPrompt="1"/>
          </p:nvPr>
        </p:nvSpPr>
        <p:spPr>
          <a:xfrm>
            <a:off x="6079658" y="5721636"/>
            <a:ext cx="2253396" cy="407461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200" b="0" cap="all" baseline="0">
                <a:solidFill>
                  <a:srgbClr val="191919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90" name="Text Placeholder 3">
            <a:extLst>
              <a:ext uri="{FF2B5EF4-FFF2-40B4-BE49-F238E27FC236}">
                <a16:creationId xmlns:a16="http://schemas.microsoft.com/office/drawing/2014/main" id="{3CF372FA-DF67-4446-82D9-6DF8CBF6E665}"/>
              </a:ext>
            </a:extLst>
          </p:cNvPr>
          <p:cNvSpPr>
            <a:spLocks noGrp="1"/>
          </p:cNvSpPr>
          <p:nvPr>
            <p:ph type="body" sz="half" idx="75" hasCustomPrompt="1"/>
          </p:nvPr>
        </p:nvSpPr>
        <p:spPr>
          <a:xfrm>
            <a:off x="6079658" y="5399428"/>
            <a:ext cx="2253396" cy="322207"/>
          </a:xfrm>
        </p:spPr>
        <p:txBody>
          <a:bodyPr anchor="ctr">
            <a:noAutofit/>
          </a:bodyPr>
          <a:lstStyle>
            <a:lvl1pPr marL="0" indent="0" algn="ctr">
              <a:buNone/>
              <a:defRPr sz="14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91" name="Text Placeholder 3">
            <a:extLst>
              <a:ext uri="{FF2B5EF4-FFF2-40B4-BE49-F238E27FC236}">
                <a16:creationId xmlns:a16="http://schemas.microsoft.com/office/drawing/2014/main" id="{5FE9CBDF-85C3-4C90-B290-97459F919744}"/>
              </a:ext>
            </a:extLst>
          </p:cNvPr>
          <p:cNvSpPr>
            <a:spLocks noGrp="1"/>
          </p:cNvSpPr>
          <p:nvPr>
            <p:ph type="body" sz="half" idx="76" hasCustomPrompt="1"/>
          </p:nvPr>
        </p:nvSpPr>
        <p:spPr>
          <a:xfrm>
            <a:off x="8613643" y="5716626"/>
            <a:ext cx="2253396" cy="407461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1200" b="0" cap="all" baseline="0">
                <a:solidFill>
                  <a:srgbClr val="191919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92" name="Text Placeholder 3">
            <a:extLst>
              <a:ext uri="{FF2B5EF4-FFF2-40B4-BE49-F238E27FC236}">
                <a16:creationId xmlns:a16="http://schemas.microsoft.com/office/drawing/2014/main" id="{915372CD-3FDB-4F4A-8187-0341F6E0280A}"/>
              </a:ext>
            </a:extLst>
          </p:cNvPr>
          <p:cNvSpPr>
            <a:spLocks noGrp="1"/>
          </p:cNvSpPr>
          <p:nvPr>
            <p:ph type="body" sz="half" idx="77" hasCustomPrompt="1"/>
          </p:nvPr>
        </p:nvSpPr>
        <p:spPr>
          <a:xfrm>
            <a:off x="8613643" y="5394418"/>
            <a:ext cx="2253396" cy="322207"/>
          </a:xfrm>
        </p:spPr>
        <p:txBody>
          <a:bodyPr anchor="ctr">
            <a:noAutofit/>
          </a:bodyPr>
          <a:lstStyle>
            <a:lvl1pPr marL="0" indent="0" algn="ctr">
              <a:buNone/>
              <a:defRPr sz="14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D6A1D53D-03C4-4B2E-B7C3-51AD97DC8D8F}"/>
              </a:ext>
            </a:extLst>
          </p:cNvPr>
          <p:cNvGrpSpPr/>
          <p:nvPr userDrawn="1"/>
        </p:nvGrpSpPr>
        <p:grpSpPr>
          <a:xfrm>
            <a:off x="5965074" y="6408183"/>
            <a:ext cx="261852" cy="261455"/>
            <a:chOff x="1830159" y="2890771"/>
            <a:chExt cx="588560" cy="587668"/>
          </a:xfrm>
          <a:solidFill>
            <a:srgbClr val="191919"/>
          </a:solidFill>
        </p:grpSpPr>
        <p:sp>
          <p:nvSpPr>
            <p:cNvPr id="39" name="Rectangle 15">
              <a:extLst>
                <a:ext uri="{FF2B5EF4-FFF2-40B4-BE49-F238E27FC236}">
                  <a16:creationId xmlns:a16="http://schemas.microsoft.com/office/drawing/2014/main" id="{EC3AFE45-0FDE-4C66-B6AF-C4C020D413D5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Rectangle 15">
              <a:extLst>
                <a:ext uri="{FF2B5EF4-FFF2-40B4-BE49-F238E27FC236}">
                  <a16:creationId xmlns:a16="http://schemas.microsoft.com/office/drawing/2014/main" id="{AEB7A410-CAC8-46CE-8492-1D6A947F8646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28769719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A">
    <p:bg>
      <p:bgPr>
        <a:blipFill dpi="0" rotWithShape="1">
          <a:blip r:embed="rId3">
            <a:alphaModFix amt="5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4" name="Object 253" hidden="1">
            <a:extLst>
              <a:ext uri="{FF2B5EF4-FFF2-40B4-BE49-F238E27FC236}">
                <a16:creationId xmlns:a16="http://schemas.microsoft.com/office/drawing/2014/main" id="{35965102-1CFC-4C04-AF05-FB0CB6E778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56044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254" name="Object 253" hidden="1">
                        <a:extLst>
                          <a:ext uri="{FF2B5EF4-FFF2-40B4-BE49-F238E27FC236}">
                            <a16:creationId xmlns:a16="http://schemas.microsoft.com/office/drawing/2014/main" id="{35965102-1CFC-4C04-AF05-FB0CB6E778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1453268C-55FB-4F10-B81A-2FB10C586E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2743" y="1009805"/>
            <a:ext cx="4953034" cy="4953034"/>
          </a:xfrm>
          <a:prstGeom prst="ellipse">
            <a:avLst/>
          </a:prstGeom>
          <a:ln w="38100">
            <a:solidFill>
              <a:schemeClr val="accent1"/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B41BD39-6B4C-1B43-A698-FFB5AF7609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78752" y="901415"/>
            <a:ext cx="4175048" cy="4164139"/>
          </a:xfrm>
        </p:spPr>
        <p:txBody>
          <a:bodyPr vert="horz" anchor="ctr">
            <a:normAutofit/>
          </a:bodyPr>
          <a:lstStyle>
            <a:lvl1pPr>
              <a:defRPr sz="3600" b="0">
                <a:solidFill>
                  <a:srgbClr val="191919"/>
                </a:solidFill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5197D6-0424-E841-8E7C-5CE7BCB142C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635777" y="5511822"/>
            <a:ext cx="5718023" cy="351576"/>
          </a:xfrm>
        </p:spPr>
        <p:txBody>
          <a:bodyPr rIns="0" anchor="ctr">
            <a:normAutofit/>
          </a:bodyPr>
          <a:lstStyle>
            <a:lvl1pPr marL="0" indent="0" algn="r">
              <a:buNone/>
              <a:defRPr sz="1800" b="1" cap="all" baseline="0">
                <a:solidFill>
                  <a:srgbClr val="191919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1DDD94-83AE-854D-AA85-D405490CA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/>
          <a:lstStyle>
            <a:lvl1pPr>
              <a:defRPr cap="all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868D98-9614-6F4D-9879-BC271C28C5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8" y="226219"/>
            <a:ext cx="4797579" cy="365125"/>
          </a:xfrm>
        </p:spPr>
        <p:txBody>
          <a:bodyPr lIns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6A226-FB73-094F-8B9B-9EE2B6DCCC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3AD13F0-4CBF-F04B-BF75-849DAE5D68C0}"/>
              </a:ext>
            </a:extLst>
          </p:cNvPr>
          <p:cNvCxnSpPr>
            <a:cxnSpLocks/>
          </p:cNvCxnSpPr>
          <p:nvPr userDrawn="1"/>
        </p:nvCxnSpPr>
        <p:spPr>
          <a:xfrm>
            <a:off x="7185101" y="6291060"/>
            <a:ext cx="4168699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EE78D20-B89E-214D-AC8B-04FD64674770}"/>
              </a:ext>
            </a:extLst>
          </p:cNvPr>
          <p:cNvCxnSpPr>
            <a:cxnSpLocks/>
          </p:cNvCxnSpPr>
          <p:nvPr userDrawn="1"/>
        </p:nvCxnSpPr>
        <p:spPr>
          <a:xfrm>
            <a:off x="7185101" y="6291060"/>
            <a:ext cx="4168699" cy="0"/>
          </a:xfrm>
          <a:prstGeom prst="line">
            <a:avLst/>
          </a:prstGeom>
          <a:ln w="19050">
            <a:solidFill>
              <a:srgbClr val="1919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76EF6082-1C93-4E4C-A5B4-96D07AAD903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88750" y="1126034"/>
            <a:ext cx="4737364" cy="4737364"/>
          </a:xfrm>
          <a:prstGeom prst="ellipse">
            <a:avLst/>
          </a:prstGeom>
          <a:pattFill prst="pct5">
            <a:fgClr>
              <a:schemeClr val="accent1"/>
            </a:fgClr>
            <a:bgClr>
              <a:schemeClr val="bg1">
                <a:lumMod val="95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8FA98FA2-0FCA-4940-BEC0-7554420BA70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635777" y="5874196"/>
            <a:ext cx="5718023" cy="283410"/>
          </a:xfrm>
        </p:spPr>
        <p:txBody>
          <a:bodyPr tIns="0" rIns="0" anchor="ctr">
            <a:normAutofit/>
          </a:bodyPr>
          <a:lstStyle>
            <a:lvl1pPr marL="0" indent="0" algn="r">
              <a:buNone/>
              <a:defRPr sz="1600" b="0" i="1" cap="all" baseline="0">
                <a:solidFill>
                  <a:srgbClr val="191919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247" name="Graphic 246">
            <a:extLst>
              <a:ext uri="{FF2B5EF4-FFF2-40B4-BE49-F238E27FC236}">
                <a16:creationId xmlns:a16="http://schemas.microsoft.com/office/drawing/2014/main" id="{D66E5168-763D-459E-9191-D2C519FD602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169227" y="455147"/>
            <a:ext cx="813321" cy="651234"/>
          </a:xfrm>
          <a:prstGeom prst="rect">
            <a:avLst/>
          </a:prstGeom>
        </p:spPr>
      </p:pic>
      <p:pic>
        <p:nvPicPr>
          <p:cNvPr id="249" name="Graphic 248">
            <a:extLst>
              <a:ext uri="{FF2B5EF4-FFF2-40B4-BE49-F238E27FC236}">
                <a16:creationId xmlns:a16="http://schemas.microsoft.com/office/drawing/2014/main" id="{4323A3AC-7601-49AF-AE82-2B6316A13DC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0800000">
            <a:off x="10550017" y="4759819"/>
            <a:ext cx="813321" cy="651234"/>
          </a:xfrm>
          <a:prstGeom prst="rect">
            <a:avLst/>
          </a:prstGeom>
        </p:spPr>
      </p:pic>
      <p:grpSp>
        <p:nvGrpSpPr>
          <p:cNvPr id="250" name="Group 249">
            <a:extLst>
              <a:ext uri="{FF2B5EF4-FFF2-40B4-BE49-F238E27FC236}">
                <a16:creationId xmlns:a16="http://schemas.microsoft.com/office/drawing/2014/main" id="{E5353705-2F61-4F4E-B290-CBBCF2F9282E}"/>
              </a:ext>
            </a:extLst>
          </p:cNvPr>
          <p:cNvGrpSpPr/>
          <p:nvPr userDrawn="1"/>
        </p:nvGrpSpPr>
        <p:grpSpPr>
          <a:xfrm>
            <a:off x="5965074" y="6408183"/>
            <a:ext cx="261852" cy="261455"/>
            <a:chOff x="1830159" y="2890771"/>
            <a:chExt cx="588560" cy="587668"/>
          </a:xfrm>
          <a:solidFill>
            <a:srgbClr val="191919"/>
          </a:solidFill>
        </p:grpSpPr>
        <p:sp>
          <p:nvSpPr>
            <p:cNvPr id="251" name="Rectangle 15">
              <a:extLst>
                <a:ext uri="{FF2B5EF4-FFF2-40B4-BE49-F238E27FC236}">
                  <a16:creationId xmlns:a16="http://schemas.microsoft.com/office/drawing/2014/main" id="{9986FB4C-11DE-4B78-A56C-41C2584DC68D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2" name="Rectangle 15">
              <a:extLst>
                <a:ext uri="{FF2B5EF4-FFF2-40B4-BE49-F238E27FC236}">
                  <a16:creationId xmlns:a16="http://schemas.microsoft.com/office/drawing/2014/main" id="{1843B579-149B-4BAA-AA07-5599B8E95F2F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70033527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A - French">
    <p:bg>
      <p:bgPr>
        <a:blipFill dpi="0" rotWithShape="1">
          <a:blip r:embed="rId3">
            <a:alphaModFix amt="5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FC73150-1FB9-4F59-B0D6-10D51CC665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9024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FC73150-1FB9-4F59-B0D6-10D51CC665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5D44D9A6-EB5D-4BEE-AAA0-C3D3D755D44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2743" y="1009805"/>
            <a:ext cx="4953034" cy="4953034"/>
          </a:xfrm>
          <a:prstGeom prst="ellipse">
            <a:avLst/>
          </a:prstGeom>
          <a:ln w="38100">
            <a:solidFill>
              <a:schemeClr val="accent1"/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1DDD94-83AE-854D-AA85-D405490CA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/>
          <a:lstStyle>
            <a:lvl1pPr>
              <a:defRPr cap="all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868D98-9614-6F4D-9879-BC271C28C5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9" y="226219"/>
            <a:ext cx="5257801" cy="365125"/>
          </a:xfrm>
        </p:spPr>
        <p:txBody>
          <a:bodyPr lIns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6A226-FB73-094F-8B9B-9EE2B6DCCC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3AD13F0-4CBF-F04B-BF75-849DAE5D68C0}"/>
              </a:ext>
            </a:extLst>
          </p:cNvPr>
          <p:cNvCxnSpPr>
            <a:cxnSpLocks/>
          </p:cNvCxnSpPr>
          <p:nvPr userDrawn="1"/>
        </p:nvCxnSpPr>
        <p:spPr>
          <a:xfrm>
            <a:off x="7185101" y="6291060"/>
            <a:ext cx="4168699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EE78D20-B89E-214D-AC8B-04FD64674770}"/>
              </a:ext>
            </a:extLst>
          </p:cNvPr>
          <p:cNvCxnSpPr>
            <a:cxnSpLocks/>
          </p:cNvCxnSpPr>
          <p:nvPr userDrawn="1"/>
        </p:nvCxnSpPr>
        <p:spPr>
          <a:xfrm>
            <a:off x="7185101" y="6291060"/>
            <a:ext cx="4168699" cy="0"/>
          </a:xfrm>
          <a:prstGeom prst="line">
            <a:avLst/>
          </a:prstGeom>
          <a:ln w="19050">
            <a:solidFill>
              <a:srgbClr val="1919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76EF6082-1C93-4E4C-A5B4-96D07AAD903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88750" y="1126034"/>
            <a:ext cx="4737364" cy="4737364"/>
          </a:xfrm>
          <a:prstGeom prst="ellipse">
            <a:avLst/>
          </a:prstGeom>
          <a:pattFill prst="pct5">
            <a:fgClr>
              <a:schemeClr val="accent1"/>
            </a:fgClr>
            <a:bgClr>
              <a:schemeClr val="bg1">
                <a:lumMod val="95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7898B10A-0AD7-43AF-A750-67E79722A3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78752" y="901415"/>
            <a:ext cx="4175048" cy="4164139"/>
          </a:xfrm>
        </p:spPr>
        <p:txBody>
          <a:bodyPr vert="horz" anchor="ctr">
            <a:normAutofit/>
          </a:bodyPr>
          <a:lstStyle>
            <a:lvl1pPr>
              <a:defRPr sz="3600" b="0">
                <a:solidFill>
                  <a:srgbClr val="191919"/>
                </a:solidFill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B29A25B1-1734-46AD-A8D5-DEA080E9ABB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635777" y="5511822"/>
            <a:ext cx="5718023" cy="351576"/>
          </a:xfrm>
        </p:spPr>
        <p:txBody>
          <a:bodyPr rIns="0" anchor="ctr">
            <a:normAutofit/>
          </a:bodyPr>
          <a:lstStyle>
            <a:lvl1pPr marL="0" indent="0" algn="r">
              <a:buNone/>
              <a:defRPr sz="1800" b="1" cap="all" baseline="0">
                <a:solidFill>
                  <a:srgbClr val="191919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2DDF653-3A26-4400-A2F9-73BCD5B64059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635777" y="5874196"/>
            <a:ext cx="5718023" cy="283410"/>
          </a:xfrm>
        </p:spPr>
        <p:txBody>
          <a:bodyPr tIns="0" rIns="0" anchor="ctr">
            <a:normAutofit/>
          </a:bodyPr>
          <a:lstStyle>
            <a:lvl1pPr marL="0" indent="0" algn="r">
              <a:buNone/>
              <a:defRPr sz="1600" b="0" cap="all" baseline="0">
                <a:solidFill>
                  <a:srgbClr val="191919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8306B2C8-7051-4830-8A22-0D26B1E4D78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148689" y="477742"/>
            <a:ext cx="576003" cy="648292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77748EE0-446A-4291-860B-266E1B48BEB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0800000">
            <a:off x="10787239" y="4769909"/>
            <a:ext cx="576003" cy="648292"/>
          </a:xfrm>
          <a:prstGeom prst="rect">
            <a:avLst/>
          </a:prstGeom>
        </p:spPr>
      </p:pic>
      <p:grpSp>
        <p:nvGrpSpPr>
          <p:cNvPr id="25" name="Group 24">
            <a:extLst>
              <a:ext uri="{FF2B5EF4-FFF2-40B4-BE49-F238E27FC236}">
                <a16:creationId xmlns:a16="http://schemas.microsoft.com/office/drawing/2014/main" id="{E42C08B2-D7F0-4B11-BFB4-CDE452405CDD}"/>
              </a:ext>
            </a:extLst>
          </p:cNvPr>
          <p:cNvGrpSpPr/>
          <p:nvPr userDrawn="1"/>
        </p:nvGrpSpPr>
        <p:grpSpPr>
          <a:xfrm>
            <a:off x="5965074" y="6408183"/>
            <a:ext cx="261852" cy="261455"/>
            <a:chOff x="1830159" y="2890771"/>
            <a:chExt cx="588560" cy="587668"/>
          </a:xfrm>
          <a:solidFill>
            <a:srgbClr val="191919"/>
          </a:solidFill>
        </p:grpSpPr>
        <p:sp>
          <p:nvSpPr>
            <p:cNvPr id="26" name="Rectangle 15">
              <a:extLst>
                <a:ext uri="{FF2B5EF4-FFF2-40B4-BE49-F238E27FC236}">
                  <a16:creationId xmlns:a16="http://schemas.microsoft.com/office/drawing/2014/main" id="{FE4637CB-C633-4EEF-9394-142E0A1613CA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tangle 15">
              <a:extLst>
                <a:ext uri="{FF2B5EF4-FFF2-40B4-BE49-F238E27FC236}">
                  <a16:creationId xmlns:a16="http://schemas.microsoft.com/office/drawing/2014/main" id="{286853D7-8E35-4413-BAE8-19F464FF331D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68332503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B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FCDAAD13-E130-408C-87D3-1D0F0F2F15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2743" y="1009805"/>
            <a:ext cx="4953034" cy="4953034"/>
          </a:xfrm>
          <a:prstGeom prst="ellipse">
            <a:avLst/>
          </a:prstGeom>
          <a:ln w="38100">
            <a:solidFill>
              <a:srgbClr val="3FCFD5"/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1DDD94-83AE-854D-AA85-D405490CA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868D98-9614-6F4D-9879-BC271C28C5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9" y="226219"/>
            <a:ext cx="4797579" cy="365125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6A226-FB73-094F-8B9B-9EE2B6DCCC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3AD13F0-4CBF-F04B-BF75-849DAE5D68C0}"/>
              </a:ext>
            </a:extLst>
          </p:cNvPr>
          <p:cNvCxnSpPr>
            <a:cxnSpLocks/>
          </p:cNvCxnSpPr>
          <p:nvPr userDrawn="1"/>
        </p:nvCxnSpPr>
        <p:spPr>
          <a:xfrm>
            <a:off x="7185101" y="6291060"/>
            <a:ext cx="4168699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1419101-E700-E540-B383-9B3E6663A69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88750" y="1113508"/>
            <a:ext cx="4737364" cy="4737364"/>
          </a:xfrm>
          <a:prstGeom prst="ellipse">
            <a:avLst/>
          </a:prstGeom>
          <a:pattFill prst="pct5">
            <a:fgClr>
              <a:srgbClr val="0D64EF"/>
            </a:fgClr>
            <a:bgClr>
              <a:schemeClr val="bg1">
                <a:lumMod val="95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>
                <a:solidFill>
                  <a:srgbClr val="191919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EA19ECDF-EE67-4E3E-9BD0-D798E4FE1C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78752" y="901415"/>
            <a:ext cx="4175048" cy="4164139"/>
          </a:xfrm>
        </p:spPr>
        <p:txBody>
          <a:bodyPr anchor="ctr">
            <a:normAutofit/>
          </a:bodyPr>
          <a:lstStyle>
            <a:lvl1pPr>
              <a:defRPr sz="36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3F51985-7349-4C14-9313-33CFA9F10DF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635777" y="5511822"/>
            <a:ext cx="5718023" cy="351576"/>
          </a:xfrm>
        </p:spPr>
        <p:txBody>
          <a:bodyPr rIns="0" anchor="ctr">
            <a:normAutofit/>
          </a:bodyPr>
          <a:lstStyle>
            <a:lvl1pPr marL="0" indent="0" algn="r">
              <a:buNone/>
              <a:defRPr sz="1800" b="1" cap="all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904C6D20-528D-4832-B972-FACEB8D70074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635777" y="5874196"/>
            <a:ext cx="5718023" cy="283410"/>
          </a:xfrm>
        </p:spPr>
        <p:txBody>
          <a:bodyPr tIns="0" rIns="0" anchor="ctr">
            <a:normAutofit/>
          </a:bodyPr>
          <a:lstStyle>
            <a:lvl1pPr marL="0" indent="0" algn="r">
              <a:buNone/>
              <a:defRPr sz="1600" b="0" i="1" cap="all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B20EB6BD-3156-4507-923E-59E935620AF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169227" y="455147"/>
            <a:ext cx="813321" cy="651234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958B77F7-2343-4317-B0E5-A62F3798446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0800000">
            <a:off x="10550017" y="4759819"/>
            <a:ext cx="813321" cy="651234"/>
          </a:xfrm>
          <a:prstGeom prst="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3C51198D-8912-4C46-B8FA-0C493A06E55A}"/>
              </a:ext>
            </a:extLst>
          </p:cNvPr>
          <p:cNvGrpSpPr/>
          <p:nvPr userDrawn="1"/>
        </p:nvGrpSpPr>
        <p:grpSpPr>
          <a:xfrm>
            <a:off x="5965074" y="6408183"/>
            <a:ext cx="261852" cy="261455"/>
            <a:chOff x="1830159" y="2890771"/>
            <a:chExt cx="588560" cy="587668"/>
          </a:xfrm>
          <a:solidFill>
            <a:schemeClr val="bg1"/>
          </a:solidFill>
        </p:grpSpPr>
        <p:sp>
          <p:nvSpPr>
            <p:cNvPr id="23" name="Rectangle 15">
              <a:extLst>
                <a:ext uri="{FF2B5EF4-FFF2-40B4-BE49-F238E27FC236}">
                  <a16:creationId xmlns:a16="http://schemas.microsoft.com/office/drawing/2014/main" id="{C2C1DA76-9E64-47BA-8AD3-76EB52EBD34E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15">
              <a:extLst>
                <a:ext uri="{FF2B5EF4-FFF2-40B4-BE49-F238E27FC236}">
                  <a16:creationId xmlns:a16="http://schemas.microsoft.com/office/drawing/2014/main" id="{D5723EC9-1752-46DC-A516-68407A40B27C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9134661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fety Moment B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E83C5F7-A1F1-4C39-A31A-E63124A3F6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38421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E83C5F7-A1F1-4C39-A31A-E63124A3F6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4BFF03A9-7189-E044-9CB2-35F611FB8AC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4320000"/>
            <a:ext cx="12192000" cy="2568016"/>
          </a:xfrm>
          <a:pattFill prst="pct5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7E86F5F-1E11-484A-A336-4A44B9910B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B83655-DE1E-1447-B3EC-C1C6B5B477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10C26C-3B29-6040-B88B-2CB45B896D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5F696F00-260B-A44D-9082-F990F81D56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272485"/>
            <a:ext cx="10515600" cy="583740"/>
          </a:xfrm>
        </p:spPr>
        <p:txBody>
          <a:bodyPr vert="horz">
            <a:noAutofit/>
          </a:bodyPr>
          <a:lstStyle>
            <a:lvl1pPr>
              <a:defRPr sz="3600"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88C8A7A1-3ADB-46A3-808D-FC13B78ACE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5346" y="1994626"/>
            <a:ext cx="3359941" cy="2024926"/>
          </a:xfrm>
        </p:spPr>
        <p:txBody>
          <a:bodyPr l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191919"/>
                </a:solidFill>
              </a:defRPr>
            </a:lvl1pPr>
            <a:lvl2pPr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E2E51ADD-C3F3-4A2C-9C11-EB716DAB3E9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07802" y="1991142"/>
            <a:ext cx="3390908" cy="2012315"/>
          </a:xfrm>
        </p:spPr>
        <p:txBody>
          <a:bodyPr l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191919"/>
                </a:solidFill>
              </a:defRPr>
            </a:lvl1pPr>
            <a:lvl2pPr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7F08864C-0895-4BBE-AB75-2B96FB47E63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993846" y="1991142"/>
            <a:ext cx="3381636" cy="2012315"/>
          </a:xfrm>
        </p:spPr>
        <p:txBody>
          <a:bodyPr l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191919"/>
                </a:solidFill>
              </a:defRPr>
            </a:lvl1pPr>
            <a:lvl2pPr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/>
              <a:t>Click to add text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CFDC8EA-DAD3-40C5-9FEC-7DFF8F1ADF5A}"/>
              </a:ext>
            </a:extLst>
          </p:cNvPr>
          <p:cNvGrpSpPr/>
          <p:nvPr userDrawn="1"/>
        </p:nvGrpSpPr>
        <p:grpSpPr>
          <a:xfrm>
            <a:off x="5965074" y="6408183"/>
            <a:ext cx="261852" cy="261455"/>
            <a:chOff x="1830159" y="2890771"/>
            <a:chExt cx="588560" cy="587668"/>
          </a:xfrm>
          <a:solidFill>
            <a:schemeClr val="bg1"/>
          </a:solidFill>
        </p:grpSpPr>
        <p:sp>
          <p:nvSpPr>
            <p:cNvPr id="17" name="Rectangle 15">
              <a:extLst>
                <a:ext uri="{FF2B5EF4-FFF2-40B4-BE49-F238E27FC236}">
                  <a16:creationId xmlns:a16="http://schemas.microsoft.com/office/drawing/2014/main" id="{B26C857D-A205-4B02-863B-50B5A751D609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5">
              <a:extLst>
                <a:ext uri="{FF2B5EF4-FFF2-40B4-BE49-F238E27FC236}">
                  <a16:creationId xmlns:a16="http://schemas.microsoft.com/office/drawing/2014/main" id="{6DCBDE9A-DD07-4CE9-9335-C09858068495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7EB771D-6E0C-47D1-AD53-8AF68D3528C7}"/>
              </a:ext>
            </a:extLst>
          </p:cNvPr>
          <p:cNvSpPr/>
          <p:nvPr userDrawn="1"/>
        </p:nvSpPr>
        <p:spPr>
          <a:xfrm>
            <a:off x="831060" y="4019553"/>
            <a:ext cx="3390896" cy="53977"/>
          </a:xfrm>
          <a:prstGeom prst="rect">
            <a:avLst/>
          </a:prstGeom>
          <a:solidFill>
            <a:srgbClr val="19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57E2912-48F0-4EBD-9CC1-FB9FD1C4E69D}"/>
              </a:ext>
            </a:extLst>
          </p:cNvPr>
          <p:cNvSpPr/>
          <p:nvPr userDrawn="1"/>
        </p:nvSpPr>
        <p:spPr>
          <a:xfrm>
            <a:off x="4407802" y="4010938"/>
            <a:ext cx="3390908" cy="62591"/>
          </a:xfrm>
          <a:prstGeom prst="rect">
            <a:avLst/>
          </a:prstGeom>
          <a:solidFill>
            <a:srgbClr val="19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1D7DE77-5A4F-4F54-9A59-42673CD0BA71}"/>
              </a:ext>
            </a:extLst>
          </p:cNvPr>
          <p:cNvSpPr/>
          <p:nvPr userDrawn="1"/>
        </p:nvSpPr>
        <p:spPr>
          <a:xfrm>
            <a:off x="7984574" y="4010938"/>
            <a:ext cx="3390908" cy="62591"/>
          </a:xfrm>
          <a:prstGeom prst="rect">
            <a:avLst/>
          </a:prstGeom>
          <a:solidFill>
            <a:srgbClr val="19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5" name="Graphic 5">
            <a:extLst>
              <a:ext uri="{FF2B5EF4-FFF2-40B4-BE49-F238E27FC236}">
                <a16:creationId xmlns:a16="http://schemas.microsoft.com/office/drawing/2014/main" id="{390EEF8B-BED1-4510-8587-7D4D564BCCD0}"/>
              </a:ext>
            </a:extLst>
          </p:cNvPr>
          <p:cNvGrpSpPr/>
          <p:nvPr userDrawn="1"/>
        </p:nvGrpSpPr>
        <p:grpSpPr>
          <a:xfrm>
            <a:off x="845346" y="804895"/>
            <a:ext cx="390078" cy="389977"/>
            <a:chOff x="2667000" y="-9"/>
            <a:chExt cx="6857419" cy="6855633"/>
          </a:xfrm>
          <a:solidFill>
            <a:srgbClr val="000000"/>
          </a:solidFill>
        </p:grpSpPr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5D0F00D4-9C5C-461D-8417-E4C958C33597}"/>
                </a:ext>
              </a:extLst>
            </p:cNvPr>
            <p:cNvSpPr/>
            <p:nvPr/>
          </p:nvSpPr>
          <p:spPr>
            <a:xfrm>
              <a:off x="6101482" y="-9"/>
              <a:ext cx="3422936" cy="6546219"/>
            </a:xfrm>
            <a:custGeom>
              <a:avLst/>
              <a:gdLst>
                <a:gd name="connsiteX0" fmla="*/ 2937797 w 3422936"/>
                <a:gd name="connsiteY0" fmla="*/ 3428139 h 6546219"/>
                <a:gd name="connsiteX1" fmla="*/ 1165167 w 3422936"/>
                <a:gd name="connsiteY1" fmla="*/ 6128594 h 6546219"/>
                <a:gd name="connsiteX2" fmla="*/ 1123801 w 3422936"/>
                <a:gd name="connsiteY2" fmla="*/ 6324755 h 6546219"/>
                <a:gd name="connsiteX3" fmla="*/ 1304794 w 3422936"/>
                <a:gd name="connsiteY3" fmla="*/ 6509231 h 6546219"/>
                <a:gd name="connsiteX4" fmla="*/ 1443334 w 3422936"/>
                <a:gd name="connsiteY4" fmla="*/ 6535067 h 6546219"/>
                <a:gd name="connsiteX5" fmla="*/ 3422937 w 3422936"/>
                <a:gd name="connsiteY5" fmla="*/ 3428139 h 6546219"/>
                <a:gd name="connsiteX6" fmla="*/ 55405 w 3422936"/>
                <a:gd name="connsiteY6" fmla="*/ 9 h 6546219"/>
                <a:gd name="connsiteX7" fmla="*/ 15418 w 3422936"/>
                <a:gd name="connsiteY7" fmla="*/ 92901 h 6546219"/>
                <a:gd name="connsiteX8" fmla="*/ 373268 w 3422936"/>
                <a:gd name="connsiteY8" fmla="*/ 457718 h 6546219"/>
                <a:gd name="connsiteX9" fmla="*/ 513911 w 3422936"/>
                <a:gd name="connsiteY9" fmla="*/ 530652 h 6546219"/>
                <a:gd name="connsiteX10" fmla="*/ 2937870 w 3422936"/>
                <a:gd name="connsiteY10" fmla="*/ 3428211 h 6546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22936" h="6546219">
                  <a:moveTo>
                    <a:pt x="2937797" y="3428139"/>
                  </a:moveTo>
                  <a:cubicBezTo>
                    <a:pt x="2937797" y="4635292"/>
                    <a:pt x="2207293" y="5675023"/>
                    <a:pt x="1165167" y="6128594"/>
                  </a:cubicBezTo>
                  <a:cubicBezTo>
                    <a:pt x="1086209" y="6162993"/>
                    <a:pt x="1063494" y="6263287"/>
                    <a:pt x="1123801" y="6324755"/>
                  </a:cubicBezTo>
                  <a:lnTo>
                    <a:pt x="1304794" y="6509231"/>
                  </a:lnTo>
                  <a:cubicBezTo>
                    <a:pt x="1340790" y="6545953"/>
                    <a:pt x="1396742" y="6556838"/>
                    <a:pt x="1443334" y="6535067"/>
                  </a:cubicBezTo>
                  <a:cubicBezTo>
                    <a:pt x="2611661" y="5988023"/>
                    <a:pt x="3422937" y="4801118"/>
                    <a:pt x="3422937" y="3428139"/>
                  </a:cubicBezTo>
                  <a:cubicBezTo>
                    <a:pt x="3422864" y="1558046"/>
                    <a:pt x="1917878" y="32739"/>
                    <a:pt x="55405" y="9"/>
                  </a:cubicBezTo>
                  <a:cubicBezTo>
                    <a:pt x="7217" y="-861"/>
                    <a:pt x="-18400" y="58429"/>
                    <a:pt x="15418" y="92901"/>
                  </a:cubicBezTo>
                  <a:cubicBezTo>
                    <a:pt x="146555" y="226577"/>
                    <a:pt x="373268" y="457718"/>
                    <a:pt x="373268" y="457718"/>
                  </a:cubicBezTo>
                  <a:cubicBezTo>
                    <a:pt x="411222" y="496325"/>
                    <a:pt x="460571" y="521072"/>
                    <a:pt x="513911" y="530652"/>
                  </a:cubicBezTo>
                  <a:cubicBezTo>
                    <a:pt x="1890011" y="776742"/>
                    <a:pt x="2937870" y="1982371"/>
                    <a:pt x="2937870" y="3428211"/>
                  </a:cubicBezTo>
                  <a:close/>
                </a:path>
              </a:pathLst>
            </a:custGeom>
            <a:solidFill>
              <a:srgbClr val="000000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5076C0BC-5E30-43FF-B080-DD47F53913EC}"/>
                </a:ext>
              </a:extLst>
            </p:cNvPr>
            <p:cNvSpPr/>
            <p:nvPr/>
          </p:nvSpPr>
          <p:spPr>
            <a:xfrm>
              <a:off x="2667000" y="319009"/>
              <a:ext cx="3394825" cy="6536614"/>
            </a:xfrm>
            <a:custGeom>
              <a:avLst/>
              <a:gdLst>
                <a:gd name="connsiteX0" fmla="*/ 3016069 w 3394825"/>
                <a:gd name="connsiteY0" fmla="*/ 6073373 h 6536614"/>
                <a:gd name="connsiteX1" fmla="*/ 2878255 w 3394825"/>
                <a:gd name="connsiteY1" fmla="*/ 6000946 h 6536614"/>
                <a:gd name="connsiteX2" fmla="*/ 485067 w 3394825"/>
                <a:gd name="connsiteY2" fmla="*/ 3109193 h 6536614"/>
                <a:gd name="connsiteX3" fmla="*/ 2239337 w 3394825"/>
                <a:gd name="connsiteY3" fmla="*/ 416793 h 6536614"/>
                <a:gd name="connsiteX4" fmla="*/ 2279904 w 3394825"/>
                <a:gd name="connsiteY4" fmla="*/ 220995 h 6536614"/>
                <a:gd name="connsiteX5" fmla="*/ 2099274 w 3394825"/>
                <a:gd name="connsiteY5" fmla="*/ 36954 h 6536614"/>
                <a:gd name="connsiteX6" fmla="*/ 1960154 w 3394825"/>
                <a:gd name="connsiteY6" fmla="*/ 11481 h 6536614"/>
                <a:gd name="connsiteX7" fmla="*/ 0 w 3394825"/>
                <a:gd name="connsiteY7" fmla="*/ 3109120 h 6536614"/>
                <a:gd name="connsiteX8" fmla="*/ 3339012 w 3394825"/>
                <a:gd name="connsiteY8" fmla="*/ 6536596 h 6536614"/>
                <a:gd name="connsiteX9" fmla="*/ 3379434 w 3394825"/>
                <a:gd name="connsiteY9" fmla="*/ 6443777 h 6536614"/>
                <a:gd name="connsiteX10" fmla="*/ 3016069 w 3394825"/>
                <a:gd name="connsiteY10" fmla="*/ 6073300 h 6536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394825" h="6536614">
                  <a:moveTo>
                    <a:pt x="3016069" y="6073373"/>
                  </a:moveTo>
                  <a:cubicBezTo>
                    <a:pt x="2978840" y="6035418"/>
                    <a:pt x="2930507" y="6010889"/>
                    <a:pt x="2878255" y="6000946"/>
                  </a:cubicBezTo>
                  <a:cubicBezTo>
                    <a:pt x="1517324" y="5742447"/>
                    <a:pt x="485067" y="4544220"/>
                    <a:pt x="485067" y="3109193"/>
                  </a:cubicBezTo>
                  <a:cubicBezTo>
                    <a:pt x="485067" y="1909079"/>
                    <a:pt x="1207008" y="874573"/>
                    <a:pt x="2239337" y="416793"/>
                  </a:cubicBezTo>
                  <a:cubicBezTo>
                    <a:pt x="2317714" y="382031"/>
                    <a:pt x="2339993" y="282173"/>
                    <a:pt x="2279904" y="220995"/>
                  </a:cubicBezTo>
                  <a:lnTo>
                    <a:pt x="2099274" y="36954"/>
                  </a:lnTo>
                  <a:cubicBezTo>
                    <a:pt x="2063061" y="87"/>
                    <a:pt x="2006818" y="-10726"/>
                    <a:pt x="1960154" y="11481"/>
                  </a:cubicBezTo>
                  <a:cubicBezTo>
                    <a:pt x="802277" y="562443"/>
                    <a:pt x="0" y="1743761"/>
                    <a:pt x="0" y="3109120"/>
                  </a:cubicBezTo>
                  <a:cubicBezTo>
                    <a:pt x="0" y="4969707"/>
                    <a:pt x="1489746" y="6488917"/>
                    <a:pt x="3339012" y="6536596"/>
                  </a:cubicBezTo>
                  <a:cubicBezTo>
                    <a:pt x="3387417" y="6537830"/>
                    <a:pt x="3413325" y="6478394"/>
                    <a:pt x="3379434" y="6443777"/>
                  </a:cubicBezTo>
                  <a:cubicBezTo>
                    <a:pt x="3246483" y="6308141"/>
                    <a:pt x="3016069" y="6073300"/>
                    <a:pt x="3016069" y="6073300"/>
                  </a:cubicBezTo>
                  <a:close/>
                </a:path>
              </a:pathLst>
            </a:custGeom>
            <a:solidFill>
              <a:srgbClr val="000000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49596BD3-8F45-4677-8946-A0086ABA94A9}"/>
                </a:ext>
              </a:extLst>
            </p:cNvPr>
            <p:cNvSpPr/>
            <p:nvPr/>
          </p:nvSpPr>
          <p:spPr>
            <a:xfrm>
              <a:off x="4402790" y="1412965"/>
              <a:ext cx="3385882" cy="4029673"/>
            </a:xfrm>
            <a:custGeom>
              <a:avLst/>
              <a:gdLst>
                <a:gd name="connsiteX0" fmla="*/ 3385576 w 3385882"/>
                <a:gd name="connsiteY0" fmla="*/ 3774077 h 4029673"/>
                <a:gd name="connsiteX1" fmla="*/ 3385503 w 3385882"/>
                <a:gd name="connsiteY1" fmla="*/ 3421525 h 4029673"/>
                <a:gd name="connsiteX2" fmla="*/ 3320987 w 3385882"/>
                <a:gd name="connsiteY2" fmla="*/ 3247572 h 4029673"/>
                <a:gd name="connsiteX3" fmla="*/ 3140792 w 3385882"/>
                <a:gd name="connsiteY3" fmla="*/ 3176815 h 4029673"/>
                <a:gd name="connsiteX4" fmla="*/ 3061689 w 3385882"/>
                <a:gd name="connsiteY4" fmla="*/ 3176959 h 4029673"/>
                <a:gd name="connsiteX5" fmla="*/ 3053053 w 3385882"/>
                <a:gd name="connsiteY5" fmla="*/ 3176959 h 4029673"/>
                <a:gd name="connsiteX6" fmla="*/ 2938028 w 3385882"/>
                <a:gd name="connsiteY6" fmla="*/ 3177323 h 4029673"/>
                <a:gd name="connsiteX7" fmla="*/ 2502454 w 3385882"/>
                <a:gd name="connsiteY7" fmla="*/ 1904710 h 4029673"/>
                <a:gd name="connsiteX8" fmla="*/ 2364714 w 3385882"/>
                <a:gd name="connsiteY8" fmla="*/ 1503245 h 4029673"/>
                <a:gd name="connsiteX9" fmla="*/ 1906062 w 3385882"/>
                <a:gd name="connsiteY9" fmla="*/ 166842 h 4029673"/>
                <a:gd name="connsiteX10" fmla="*/ 1685227 w 3385882"/>
                <a:gd name="connsiteY10" fmla="*/ 0 h 4029673"/>
                <a:gd name="connsiteX11" fmla="*/ 1681889 w 3385882"/>
                <a:gd name="connsiteY11" fmla="*/ 0 h 4029673"/>
                <a:gd name="connsiteX12" fmla="*/ 1464683 w 3385882"/>
                <a:gd name="connsiteY12" fmla="*/ 167713 h 4029673"/>
                <a:gd name="connsiteX13" fmla="*/ 1347843 w 3385882"/>
                <a:gd name="connsiteY13" fmla="*/ 510758 h 4029673"/>
                <a:gd name="connsiteX14" fmla="*/ 988179 w 3385882"/>
                <a:gd name="connsiteY14" fmla="*/ 1567035 h 4029673"/>
                <a:gd name="connsiteX15" fmla="*/ 985276 w 3385882"/>
                <a:gd name="connsiteY15" fmla="*/ 1575743 h 4029673"/>
                <a:gd name="connsiteX16" fmla="*/ 441135 w 3385882"/>
                <a:gd name="connsiteY16" fmla="*/ 3177032 h 4029673"/>
                <a:gd name="connsiteX17" fmla="*/ 237064 w 3385882"/>
                <a:gd name="connsiteY17" fmla="*/ 3177177 h 4029673"/>
                <a:gd name="connsiteX18" fmla="*/ 264 w 3385882"/>
                <a:gd name="connsiteY18" fmla="*/ 3415067 h 4029673"/>
                <a:gd name="connsiteX19" fmla="*/ 264 w 3385882"/>
                <a:gd name="connsiteY19" fmla="*/ 3478711 h 4029673"/>
                <a:gd name="connsiteX20" fmla="*/ 554 w 3385882"/>
                <a:gd name="connsiteY20" fmla="*/ 3795631 h 4029673"/>
                <a:gd name="connsiteX21" fmla="*/ 130384 w 3385882"/>
                <a:gd name="connsiteY21" fmla="*/ 4002823 h 4029673"/>
                <a:gd name="connsiteX22" fmla="*/ 262755 w 3385882"/>
                <a:gd name="connsiteY22" fmla="*/ 4028658 h 4029673"/>
                <a:gd name="connsiteX23" fmla="*/ 1410834 w 3385882"/>
                <a:gd name="connsiteY23" fmla="*/ 4029456 h 4029673"/>
                <a:gd name="connsiteX24" fmla="*/ 2578799 w 3385882"/>
                <a:gd name="connsiteY24" fmla="*/ 4029456 h 4029673"/>
                <a:gd name="connsiteX25" fmla="*/ 2742520 w 3385882"/>
                <a:gd name="connsiteY25" fmla="*/ 4029311 h 4029673"/>
                <a:gd name="connsiteX26" fmla="*/ 2778443 w 3385882"/>
                <a:gd name="connsiteY26" fmla="*/ 4029311 h 4029673"/>
                <a:gd name="connsiteX27" fmla="*/ 3131213 w 3385882"/>
                <a:gd name="connsiteY27" fmla="*/ 4029674 h 4029673"/>
                <a:gd name="connsiteX28" fmla="*/ 3132664 w 3385882"/>
                <a:gd name="connsiteY28" fmla="*/ 4029674 h 4029673"/>
                <a:gd name="connsiteX29" fmla="*/ 3322511 w 3385882"/>
                <a:gd name="connsiteY29" fmla="*/ 3956667 h 4029673"/>
                <a:gd name="connsiteX30" fmla="*/ 3385576 w 3385882"/>
                <a:gd name="connsiteY30" fmla="*/ 3774005 h 4029673"/>
                <a:gd name="connsiteX31" fmla="*/ 3093113 w 3385882"/>
                <a:gd name="connsiteY31" fmla="*/ 3660793 h 4029673"/>
                <a:gd name="connsiteX32" fmla="*/ 3093113 w 3385882"/>
                <a:gd name="connsiteY32" fmla="*/ 3673203 h 4029673"/>
                <a:gd name="connsiteX33" fmla="*/ 3093258 w 3385882"/>
                <a:gd name="connsiteY33" fmla="*/ 3738372 h 4029673"/>
                <a:gd name="connsiteX34" fmla="*/ 3019235 w 3385882"/>
                <a:gd name="connsiteY34" fmla="*/ 3738372 h 4029673"/>
                <a:gd name="connsiteX35" fmla="*/ 2972935 w 3385882"/>
                <a:gd name="connsiteY35" fmla="*/ 3738372 h 4029673"/>
                <a:gd name="connsiteX36" fmla="*/ 291638 w 3385882"/>
                <a:gd name="connsiteY36" fmla="*/ 3738372 h 4029673"/>
                <a:gd name="connsiteX37" fmla="*/ 291710 w 3385882"/>
                <a:gd name="connsiteY37" fmla="*/ 3569353 h 4029673"/>
                <a:gd name="connsiteX38" fmla="*/ 291710 w 3385882"/>
                <a:gd name="connsiteY38" fmla="*/ 3468334 h 4029673"/>
                <a:gd name="connsiteX39" fmla="*/ 3093476 w 3385882"/>
                <a:gd name="connsiteY39" fmla="*/ 3468334 h 4029673"/>
                <a:gd name="connsiteX40" fmla="*/ 3093113 w 3385882"/>
                <a:gd name="connsiteY40" fmla="*/ 3660866 h 4029673"/>
                <a:gd name="connsiteX41" fmla="*/ 1685808 w 3385882"/>
                <a:gd name="connsiteY41" fmla="*/ 423817 h 4029673"/>
                <a:gd name="connsiteX42" fmla="*/ 1981971 w 3385882"/>
                <a:gd name="connsiteY42" fmla="*/ 1287127 h 4029673"/>
                <a:gd name="connsiteX43" fmla="*/ 1996123 w 3385882"/>
                <a:gd name="connsiteY43" fmla="*/ 1328420 h 4029673"/>
                <a:gd name="connsiteX44" fmla="*/ 1377742 w 3385882"/>
                <a:gd name="connsiteY44" fmla="*/ 1328420 h 4029673"/>
                <a:gd name="connsiteX45" fmla="*/ 1685808 w 3385882"/>
                <a:gd name="connsiteY45" fmla="*/ 423817 h 4029673"/>
                <a:gd name="connsiteX46" fmla="*/ 1074684 w 3385882"/>
                <a:gd name="connsiteY46" fmla="*/ 2217783 h 4029673"/>
                <a:gd name="connsiteX47" fmla="*/ 1133902 w 3385882"/>
                <a:gd name="connsiteY47" fmla="*/ 2043974 h 4029673"/>
                <a:gd name="connsiteX48" fmla="*/ 1277303 w 3385882"/>
                <a:gd name="connsiteY48" fmla="*/ 1620375 h 4029673"/>
                <a:gd name="connsiteX49" fmla="*/ 2097433 w 3385882"/>
                <a:gd name="connsiteY49" fmla="*/ 1620593 h 4029673"/>
                <a:gd name="connsiteX50" fmla="*/ 2280168 w 3385882"/>
                <a:gd name="connsiteY50" fmla="*/ 2155517 h 4029673"/>
                <a:gd name="connsiteX51" fmla="*/ 2308834 w 3385882"/>
                <a:gd name="connsiteY51" fmla="*/ 2238901 h 4029673"/>
                <a:gd name="connsiteX52" fmla="*/ 2323348 w 3385882"/>
                <a:gd name="connsiteY52" fmla="*/ 2281283 h 4029673"/>
                <a:gd name="connsiteX53" fmla="*/ 1052549 w 3385882"/>
                <a:gd name="connsiteY53" fmla="*/ 2283460 h 4029673"/>
                <a:gd name="connsiteX54" fmla="*/ 1074684 w 3385882"/>
                <a:gd name="connsiteY54" fmla="*/ 2217783 h 4029673"/>
                <a:gd name="connsiteX55" fmla="*/ 759070 w 3385882"/>
                <a:gd name="connsiteY55" fmla="*/ 3145826 h 4029673"/>
                <a:gd name="connsiteX56" fmla="*/ 791800 w 3385882"/>
                <a:gd name="connsiteY56" fmla="*/ 3049742 h 4029673"/>
                <a:gd name="connsiteX57" fmla="*/ 799420 w 3385882"/>
                <a:gd name="connsiteY57" fmla="*/ 3027317 h 4029673"/>
                <a:gd name="connsiteX58" fmla="*/ 952256 w 3385882"/>
                <a:gd name="connsiteY58" fmla="*/ 2576939 h 4029673"/>
                <a:gd name="connsiteX59" fmla="*/ 2425601 w 3385882"/>
                <a:gd name="connsiteY59" fmla="*/ 2577084 h 4029673"/>
                <a:gd name="connsiteX60" fmla="*/ 2584387 w 3385882"/>
                <a:gd name="connsiteY60" fmla="*/ 3041759 h 4029673"/>
                <a:gd name="connsiteX61" fmla="*/ 2620745 w 3385882"/>
                <a:gd name="connsiteY61" fmla="*/ 3147713 h 4029673"/>
                <a:gd name="connsiteX62" fmla="*/ 2630180 w 3385882"/>
                <a:gd name="connsiteY62" fmla="*/ 3175218 h 4029673"/>
                <a:gd name="connsiteX63" fmla="*/ 749056 w 3385882"/>
                <a:gd name="connsiteY63" fmla="*/ 3175218 h 4029673"/>
                <a:gd name="connsiteX64" fmla="*/ 759070 w 3385882"/>
                <a:gd name="connsiteY64" fmla="*/ 3145826 h 4029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3385882" h="4029673">
                  <a:moveTo>
                    <a:pt x="3385576" y="3774077"/>
                  </a:moveTo>
                  <a:cubicBezTo>
                    <a:pt x="3380786" y="3664277"/>
                    <a:pt x="3380786" y="3548961"/>
                    <a:pt x="3385503" y="3421525"/>
                  </a:cubicBezTo>
                  <a:cubicBezTo>
                    <a:pt x="3387898" y="3354397"/>
                    <a:pt x="3365038" y="3292638"/>
                    <a:pt x="3320987" y="3247572"/>
                  </a:cubicBezTo>
                  <a:cubicBezTo>
                    <a:pt x="3275267" y="3200836"/>
                    <a:pt x="3211332" y="3175798"/>
                    <a:pt x="3140792" y="3176815"/>
                  </a:cubicBezTo>
                  <a:cubicBezTo>
                    <a:pt x="3114812" y="3177250"/>
                    <a:pt x="3087815" y="3177105"/>
                    <a:pt x="3061689" y="3176959"/>
                  </a:cubicBezTo>
                  <a:lnTo>
                    <a:pt x="3053053" y="3176959"/>
                  </a:lnTo>
                  <a:cubicBezTo>
                    <a:pt x="3012414" y="3176524"/>
                    <a:pt x="2975184" y="3176379"/>
                    <a:pt x="2938028" y="3177323"/>
                  </a:cubicBezTo>
                  <a:cubicBezTo>
                    <a:pt x="2793393" y="2752925"/>
                    <a:pt x="2645492" y="2321851"/>
                    <a:pt x="2502454" y="1904710"/>
                  </a:cubicBezTo>
                  <a:lnTo>
                    <a:pt x="2364714" y="1503245"/>
                  </a:lnTo>
                  <a:cubicBezTo>
                    <a:pt x="2211950" y="1057729"/>
                    <a:pt x="2059115" y="612285"/>
                    <a:pt x="1906062" y="166842"/>
                  </a:cubicBezTo>
                  <a:cubicBezTo>
                    <a:pt x="1868543" y="57694"/>
                    <a:pt x="1792197" y="0"/>
                    <a:pt x="1685227" y="0"/>
                  </a:cubicBezTo>
                  <a:cubicBezTo>
                    <a:pt x="1684138" y="0"/>
                    <a:pt x="1682977" y="0"/>
                    <a:pt x="1681889" y="0"/>
                  </a:cubicBezTo>
                  <a:cubicBezTo>
                    <a:pt x="1576733" y="1161"/>
                    <a:pt x="1501694" y="59146"/>
                    <a:pt x="1464683" y="167713"/>
                  </a:cubicBezTo>
                  <a:lnTo>
                    <a:pt x="1347843" y="510758"/>
                  </a:lnTo>
                  <a:cubicBezTo>
                    <a:pt x="1227955" y="862802"/>
                    <a:pt x="1108066" y="1214846"/>
                    <a:pt x="988179" y="1567035"/>
                  </a:cubicBezTo>
                  <a:lnTo>
                    <a:pt x="985276" y="1575743"/>
                  </a:lnTo>
                  <a:cubicBezTo>
                    <a:pt x="820538" y="2059795"/>
                    <a:pt x="629313" y="2621643"/>
                    <a:pt x="441135" y="3177032"/>
                  </a:cubicBezTo>
                  <a:cubicBezTo>
                    <a:pt x="371757" y="3176016"/>
                    <a:pt x="302306" y="3176524"/>
                    <a:pt x="237064" y="3177177"/>
                  </a:cubicBezTo>
                  <a:cubicBezTo>
                    <a:pt x="100122" y="3178556"/>
                    <a:pt x="481" y="3278632"/>
                    <a:pt x="264" y="3415067"/>
                  </a:cubicBezTo>
                  <a:lnTo>
                    <a:pt x="264" y="3478711"/>
                  </a:lnTo>
                  <a:cubicBezTo>
                    <a:pt x="-27" y="3582126"/>
                    <a:pt x="-244" y="3689096"/>
                    <a:pt x="554" y="3795631"/>
                  </a:cubicBezTo>
                  <a:cubicBezTo>
                    <a:pt x="1207" y="3892079"/>
                    <a:pt x="48524" y="3967553"/>
                    <a:pt x="130384" y="4002823"/>
                  </a:cubicBezTo>
                  <a:cubicBezTo>
                    <a:pt x="179442" y="4024013"/>
                    <a:pt x="229444" y="4028585"/>
                    <a:pt x="262755" y="4028658"/>
                  </a:cubicBezTo>
                  <a:cubicBezTo>
                    <a:pt x="649125" y="4029601"/>
                    <a:pt x="1036366" y="4029529"/>
                    <a:pt x="1410834" y="4029456"/>
                  </a:cubicBezTo>
                  <a:lnTo>
                    <a:pt x="2578799" y="4029456"/>
                  </a:lnTo>
                  <a:cubicBezTo>
                    <a:pt x="2633373" y="4029456"/>
                    <a:pt x="2687947" y="4029384"/>
                    <a:pt x="2742520" y="4029311"/>
                  </a:cubicBezTo>
                  <a:lnTo>
                    <a:pt x="2778443" y="4029311"/>
                  </a:lnTo>
                  <a:cubicBezTo>
                    <a:pt x="2894122" y="4029238"/>
                    <a:pt x="3013720" y="4029166"/>
                    <a:pt x="3131213" y="4029674"/>
                  </a:cubicBezTo>
                  <a:lnTo>
                    <a:pt x="3132664" y="4029674"/>
                  </a:lnTo>
                  <a:cubicBezTo>
                    <a:pt x="3210896" y="4029674"/>
                    <a:pt x="3276501" y="4004419"/>
                    <a:pt x="3322511" y="3956667"/>
                  </a:cubicBezTo>
                  <a:cubicBezTo>
                    <a:pt x="3366998" y="3910439"/>
                    <a:pt x="3388769" y="3847302"/>
                    <a:pt x="3385576" y="3774005"/>
                  </a:cubicBezTo>
                  <a:close/>
                  <a:moveTo>
                    <a:pt x="3093113" y="3660793"/>
                  </a:moveTo>
                  <a:lnTo>
                    <a:pt x="3093113" y="3673203"/>
                  </a:lnTo>
                  <a:cubicBezTo>
                    <a:pt x="3093185" y="3694974"/>
                    <a:pt x="3093185" y="3716673"/>
                    <a:pt x="3093258" y="3738372"/>
                  </a:cubicBezTo>
                  <a:cubicBezTo>
                    <a:pt x="3067640" y="3738445"/>
                    <a:pt x="3042313" y="3738445"/>
                    <a:pt x="3019235" y="3738372"/>
                  </a:cubicBezTo>
                  <a:cubicBezTo>
                    <a:pt x="3003778" y="3738372"/>
                    <a:pt x="2988392" y="3738372"/>
                    <a:pt x="2972935" y="3738372"/>
                  </a:cubicBezTo>
                  <a:lnTo>
                    <a:pt x="291638" y="3738372"/>
                  </a:lnTo>
                  <a:cubicBezTo>
                    <a:pt x="291638" y="3682057"/>
                    <a:pt x="291710" y="3625669"/>
                    <a:pt x="291710" y="3569353"/>
                  </a:cubicBezTo>
                  <a:lnTo>
                    <a:pt x="291710" y="3468334"/>
                  </a:lnTo>
                  <a:lnTo>
                    <a:pt x="3093476" y="3468334"/>
                  </a:lnTo>
                  <a:cubicBezTo>
                    <a:pt x="3092822" y="3532923"/>
                    <a:pt x="3092968" y="3597874"/>
                    <a:pt x="3093113" y="3660866"/>
                  </a:cubicBezTo>
                  <a:close/>
                  <a:moveTo>
                    <a:pt x="1685808" y="423817"/>
                  </a:moveTo>
                  <a:cubicBezTo>
                    <a:pt x="1785158" y="712361"/>
                    <a:pt x="1885089" y="1004098"/>
                    <a:pt x="1981971" y="1287127"/>
                  </a:cubicBezTo>
                  <a:lnTo>
                    <a:pt x="1996123" y="1328420"/>
                  </a:lnTo>
                  <a:lnTo>
                    <a:pt x="1377742" y="1328420"/>
                  </a:lnTo>
                  <a:cubicBezTo>
                    <a:pt x="1473319" y="1047206"/>
                    <a:pt x="1579345" y="735294"/>
                    <a:pt x="1685808" y="423817"/>
                  </a:cubicBezTo>
                  <a:close/>
                  <a:moveTo>
                    <a:pt x="1074684" y="2217783"/>
                  </a:moveTo>
                  <a:lnTo>
                    <a:pt x="1133902" y="2043974"/>
                  </a:lnTo>
                  <a:cubicBezTo>
                    <a:pt x="1181146" y="1905290"/>
                    <a:pt x="1229987" y="1762034"/>
                    <a:pt x="1277303" y="1620375"/>
                  </a:cubicBezTo>
                  <a:cubicBezTo>
                    <a:pt x="1527965" y="1621609"/>
                    <a:pt x="1796769" y="1621681"/>
                    <a:pt x="2097433" y="1620593"/>
                  </a:cubicBezTo>
                  <a:cubicBezTo>
                    <a:pt x="2160135" y="1806085"/>
                    <a:pt x="2226465" y="1999198"/>
                    <a:pt x="2280168" y="2155517"/>
                  </a:cubicBezTo>
                  <a:lnTo>
                    <a:pt x="2308834" y="2238901"/>
                  </a:lnTo>
                  <a:cubicBezTo>
                    <a:pt x="2313623" y="2253053"/>
                    <a:pt x="2318485" y="2267132"/>
                    <a:pt x="2323348" y="2281283"/>
                  </a:cubicBezTo>
                  <a:cubicBezTo>
                    <a:pt x="2051640" y="2287452"/>
                    <a:pt x="1326942" y="2288685"/>
                    <a:pt x="1052549" y="2283460"/>
                  </a:cubicBezTo>
                  <a:cubicBezTo>
                    <a:pt x="1059879" y="2261471"/>
                    <a:pt x="1067281" y="2239627"/>
                    <a:pt x="1074684" y="2217783"/>
                  </a:cubicBezTo>
                  <a:close/>
                  <a:moveTo>
                    <a:pt x="759070" y="3145826"/>
                  </a:moveTo>
                  <a:cubicBezTo>
                    <a:pt x="769956" y="3113750"/>
                    <a:pt x="780915" y="3081746"/>
                    <a:pt x="791800" y="3049742"/>
                  </a:cubicBezTo>
                  <a:lnTo>
                    <a:pt x="799420" y="3027317"/>
                  </a:lnTo>
                  <a:cubicBezTo>
                    <a:pt x="849712" y="2879707"/>
                    <a:pt x="901601" y="2727307"/>
                    <a:pt x="952256" y="2576939"/>
                  </a:cubicBezTo>
                  <a:cubicBezTo>
                    <a:pt x="1418672" y="2577810"/>
                    <a:pt x="1901127" y="2577882"/>
                    <a:pt x="2425601" y="2577084"/>
                  </a:cubicBezTo>
                  <a:cubicBezTo>
                    <a:pt x="2477489" y="2730065"/>
                    <a:pt x="2530394" y="2884279"/>
                    <a:pt x="2584387" y="3041759"/>
                  </a:cubicBezTo>
                  <a:cubicBezTo>
                    <a:pt x="2596506" y="3077101"/>
                    <a:pt x="2608626" y="3112371"/>
                    <a:pt x="2620745" y="3147713"/>
                  </a:cubicBezTo>
                  <a:lnTo>
                    <a:pt x="2630180" y="3175218"/>
                  </a:lnTo>
                  <a:lnTo>
                    <a:pt x="749056" y="3175218"/>
                  </a:lnTo>
                  <a:lnTo>
                    <a:pt x="759070" y="3145826"/>
                  </a:lnTo>
                  <a:close/>
                </a:path>
              </a:pathLst>
            </a:custGeom>
            <a:solidFill>
              <a:srgbClr val="000000"/>
            </a:solidFill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8A1524FD-2F24-4B3B-BCEF-C8FE0E293CF3}"/>
              </a:ext>
            </a:extLst>
          </p:cNvPr>
          <p:cNvSpPr txBox="1"/>
          <p:nvPr userDrawn="1"/>
        </p:nvSpPr>
        <p:spPr>
          <a:xfrm>
            <a:off x="1260759" y="806004"/>
            <a:ext cx="28732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spc="600">
                <a:solidFill>
                  <a:srgbClr val="191919"/>
                </a:solidFill>
              </a:rPr>
              <a:t>SAFETY MOMENT</a:t>
            </a:r>
          </a:p>
        </p:txBody>
      </p:sp>
    </p:spTree>
    <p:extLst>
      <p:ext uri="{BB962C8B-B14F-4D97-AF65-F5344CB8AC3E}">
        <p14:creationId xmlns:p14="http://schemas.microsoft.com/office/powerpoint/2010/main" val="335968040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B - French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F8554BD7-A05A-44C9-8296-FD861A141D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2743" y="1009805"/>
            <a:ext cx="4953034" cy="4953034"/>
          </a:xfrm>
          <a:prstGeom prst="ellipse">
            <a:avLst/>
          </a:prstGeom>
          <a:ln w="38100">
            <a:solidFill>
              <a:srgbClr val="3FCFD5"/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1DDD94-83AE-854D-AA85-D405490CA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868D98-9614-6F4D-9879-BC271C28C5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9" y="226219"/>
            <a:ext cx="4797579" cy="365125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6A226-FB73-094F-8B9B-9EE2B6DCCC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3AD13F0-4CBF-F04B-BF75-849DAE5D68C0}"/>
              </a:ext>
            </a:extLst>
          </p:cNvPr>
          <p:cNvCxnSpPr>
            <a:cxnSpLocks/>
          </p:cNvCxnSpPr>
          <p:nvPr userDrawn="1"/>
        </p:nvCxnSpPr>
        <p:spPr>
          <a:xfrm>
            <a:off x="7185101" y="6291060"/>
            <a:ext cx="4168699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F1419101-E700-E540-B383-9B3E6663A69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88750" y="1113508"/>
            <a:ext cx="4737364" cy="4737364"/>
          </a:xfrm>
          <a:prstGeom prst="ellipse">
            <a:avLst/>
          </a:prstGeom>
          <a:pattFill prst="pct5">
            <a:fgClr>
              <a:srgbClr val="0D64EF"/>
            </a:fgClr>
            <a:bgClr>
              <a:schemeClr val="bg1">
                <a:lumMod val="95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>
                <a:solidFill>
                  <a:srgbClr val="191919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5888AA1E-2C19-42F4-B332-707F2B47FA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78752" y="901415"/>
            <a:ext cx="4175048" cy="4164139"/>
          </a:xfrm>
        </p:spPr>
        <p:txBody>
          <a:bodyPr anchor="ctr">
            <a:normAutofit/>
          </a:bodyPr>
          <a:lstStyle>
            <a:lvl1pPr>
              <a:defRPr sz="36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916E973-0291-42CA-8EA7-6F9C75FB759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635777" y="5605436"/>
            <a:ext cx="5718023" cy="351150"/>
          </a:xfrm>
        </p:spPr>
        <p:txBody>
          <a:bodyPr>
            <a:normAutofit/>
          </a:bodyPr>
          <a:lstStyle>
            <a:lvl1pPr marL="0" indent="0" algn="r">
              <a:buNone/>
              <a:defRPr sz="1800" b="1" cap="all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3AACCF3-FB17-4C56-BBE6-BA5B6166FC69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635777" y="5962839"/>
            <a:ext cx="5718023" cy="328221"/>
          </a:xfrm>
        </p:spPr>
        <p:txBody>
          <a:bodyPr>
            <a:normAutofit/>
          </a:bodyPr>
          <a:lstStyle>
            <a:lvl1pPr marL="0" indent="0" algn="r">
              <a:buNone/>
              <a:defRPr sz="1600" b="0" i="1" cap="all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1D8C2BAC-F9AF-4E4C-BB08-822DC9B6310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148689" y="477742"/>
            <a:ext cx="576003" cy="648292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26609E6D-B532-4339-8C91-481D271559E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0800000">
            <a:off x="10787239" y="4769909"/>
            <a:ext cx="576003" cy="648292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8641409A-518E-40A1-AD30-733560508530}"/>
              </a:ext>
            </a:extLst>
          </p:cNvPr>
          <p:cNvGrpSpPr/>
          <p:nvPr userDrawn="1"/>
        </p:nvGrpSpPr>
        <p:grpSpPr>
          <a:xfrm>
            <a:off x="5965074" y="6408183"/>
            <a:ext cx="261852" cy="261455"/>
            <a:chOff x="1830159" y="2890771"/>
            <a:chExt cx="588560" cy="587668"/>
          </a:xfrm>
          <a:solidFill>
            <a:schemeClr val="bg1"/>
          </a:solidFill>
        </p:grpSpPr>
        <p:sp>
          <p:nvSpPr>
            <p:cNvPr id="22" name="Rectangle 15">
              <a:extLst>
                <a:ext uri="{FF2B5EF4-FFF2-40B4-BE49-F238E27FC236}">
                  <a16:creationId xmlns:a16="http://schemas.microsoft.com/office/drawing/2014/main" id="{00A3D34C-D32A-4C66-8CA9-8B467205936C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15">
              <a:extLst>
                <a:ext uri="{FF2B5EF4-FFF2-40B4-BE49-F238E27FC236}">
                  <a16:creationId xmlns:a16="http://schemas.microsoft.com/office/drawing/2014/main" id="{9E61FDEE-3824-416B-BD9B-6349B9473DBF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9061592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C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6138AD47-B8AF-4657-9572-6DECD52728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2743" y="1009805"/>
            <a:ext cx="4953034" cy="4953034"/>
          </a:xfrm>
          <a:prstGeom prst="ellipse">
            <a:avLst/>
          </a:prstGeom>
          <a:ln w="38100">
            <a:solidFill>
              <a:srgbClr val="C1F50E"/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1DDD94-83AE-854D-AA85-D405490CA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868D98-9614-6F4D-9879-BC271C28C5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9" y="226219"/>
            <a:ext cx="4797579" cy="365125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6A226-FB73-094F-8B9B-9EE2B6DCCC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3AD13F0-4CBF-F04B-BF75-849DAE5D68C0}"/>
              </a:ext>
            </a:extLst>
          </p:cNvPr>
          <p:cNvCxnSpPr>
            <a:cxnSpLocks/>
          </p:cNvCxnSpPr>
          <p:nvPr userDrawn="1"/>
        </p:nvCxnSpPr>
        <p:spPr>
          <a:xfrm>
            <a:off x="7185101" y="6291060"/>
            <a:ext cx="4168699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CF75F1C3-13D5-4B4C-B50E-7ED0E52197E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1276" y="1113508"/>
            <a:ext cx="4737364" cy="4737364"/>
          </a:xfrm>
          <a:prstGeom prst="ellipse">
            <a:avLst/>
          </a:prstGeom>
          <a:pattFill prst="pct5">
            <a:fgClr>
              <a:srgbClr val="0D64EF"/>
            </a:fgClr>
            <a:bgClr>
              <a:schemeClr val="bg1">
                <a:lumMod val="95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>
                <a:solidFill>
                  <a:srgbClr val="191919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EDB5EC1-8759-40F6-9B3C-F0071A7420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78752" y="901415"/>
            <a:ext cx="4175048" cy="4164139"/>
          </a:xfrm>
        </p:spPr>
        <p:txBody>
          <a:bodyPr anchor="ctr">
            <a:normAutofit/>
          </a:bodyPr>
          <a:lstStyle>
            <a:lvl1pPr>
              <a:defRPr sz="36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3DAF4AE0-F4A7-4984-89A8-F7172169E7A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635777" y="5511822"/>
            <a:ext cx="5718023" cy="351576"/>
          </a:xfrm>
        </p:spPr>
        <p:txBody>
          <a:bodyPr rIns="0" anchor="ctr">
            <a:normAutofit/>
          </a:bodyPr>
          <a:lstStyle>
            <a:lvl1pPr marL="0" indent="0" algn="r">
              <a:buNone/>
              <a:defRPr sz="1800" b="1" cap="all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36048E8-6EA7-43D4-952B-0DA4086F96C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635777" y="5874196"/>
            <a:ext cx="5718023" cy="283410"/>
          </a:xfrm>
        </p:spPr>
        <p:txBody>
          <a:bodyPr tIns="0" rIns="0" anchor="ctr">
            <a:normAutofit/>
          </a:bodyPr>
          <a:lstStyle>
            <a:lvl1pPr marL="0" indent="0" algn="r">
              <a:buNone/>
              <a:defRPr sz="1600" b="0" i="1" cap="all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6352BF8E-9BBA-4886-9317-FC996F5026F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169227" y="455147"/>
            <a:ext cx="813321" cy="651234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1FD56AD4-F288-4879-9BB6-891478E2695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0800000">
            <a:off x="10550017" y="4759819"/>
            <a:ext cx="813321" cy="651234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40E5D35F-3DB1-4BBA-8008-701D311E0418}"/>
              </a:ext>
            </a:extLst>
          </p:cNvPr>
          <p:cNvGrpSpPr/>
          <p:nvPr userDrawn="1"/>
        </p:nvGrpSpPr>
        <p:grpSpPr>
          <a:xfrm>
            <a:off x="5965074" y="6408183"/>
            <a:ext cx="261852" cy="261455"/>
            <a:chOff x="1830159" y="2890771"/>
            <a:chExt cx="588560" cy="587668"/>
          </a:xfrm>
          <a:solidFill>
            <a:schemeClr val="bg1"/>
          </a:solidFill>
        </p:grpSpPr>
        <p:sp>
          <p:nvSpPr>
            <p:cNvPr id="22" name="Rectangle 15">
              <a:extLst>
                <a:ext uri="{FF2B5EF4-FFF2-40B4-BE49-F238E27FC236}">
                  <a16:creationId xmlns:a16="http://schemas.microsoft.com/office/drawing/2014/main" id="{C4E00D44-AA46-4056-AC71-B207BD64B875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15">
              <a:extLst>
                <a:ext uri="{FF2B5EF4-FFF2-40B4-BE49-F238E27FC236}">
                  <a16:creationId xmlns:a16="http://schemas.microsoft.com/office/drawing/2014/main" id="{B9FA1518-1ACE-4679-93E8-B23D89C846F6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98148364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C - French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CE64E104-31EB-4B19-8BE3-ADA7E6A73FA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2743" y="1009805"/>
            <a:ext cx="4953034" cy="4953034"/>
          </a:xfrm>
          <a:prstGeom prst="ellipse">
            <a:avLst/>
          </a:prstGeom>
          <a:ln w="38100">
            <a:solidFill>
              <a:srgbClr val="C1F50E"/>
            </a:solidFill>
          </a:ln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1DDD94-83AE-854D-AA85-D405490CA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868D98-9614-6F4D-9879-BC271C28C5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9" y="226219"/>
            <a:ext cx="4797579" cy="365125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6A226-FB73-094F-8B9B-9EE2B6DCCC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3AD13F0-4CBF-F04B-BF75-849DAE5D68C0}"/>
              </a:ext>
            </a:extLst>
          </p:cNvPr>
          <p:cNvCxnSpPr>
            <a:cxnSpLocks/>
          </p:cNvCxnSpPr>
          <p:nvPr userDrawn="1"/>
        </p:nvCxnSpPr>
        <p:spPr>
          <a:xfrm>
            <a:off x="7185101" y="6291060"/>
            <a:ext cx="4168699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C90DE5C8-E06E-4835-98DC-16BE500BDE1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1276" y="1113508"/>
            <a:ext cx="4737364" cy="4737364"/>
          </a:xfrm>
          <a:prstGeom prst="ellipse">
            <a:avLst/>
          </a:prstGeom>
          <a:pattFill prst="pct5">
            <a:fgClr>
              <a:srgbClr val="0D64EF"/>
            </a:fgClr>
            <a:bgClr>
              <a:schemeClr val="bg1">
                <a:lumMod val="95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>
                <a:solidFill>
                  <a:srgbClr val="191919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E1823A85-62BA-4F85-822C-421B8DAC54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78752" y="901415"/>
            <a:ext cx="4175048" cy="4164139"/>
          </a:xfrm>
        </p:spPr>
        <p:txBody>
          <a:bodyPr anchor="ctr">
            <a:normAutofit/>
          </a:bodyPr>
          <a:lstStyle>
            <a:lvl1pPr>
              <a:defRPr sz="36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724FB5BA-27F8-4FAF-A21E-396845725B8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635777" y="5511822"/>
            <a:ext cx="5718023" cy="351576"/>
          </a:xfrm>
        </p:spPr>
        <p:txBody>
          <a:bodyPr rIns="0" anchor="ctr">
            <a:normAutofit/>
          </a:bodyPr>
          <a:lstStyle>
            <a:lvl1pPr marL="0" indent="0" algn="r">
              <a:buNone/>
              <a:defRPr sz="1800" b="1" cap="all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9D8F582-E28F-4E26-BAE0-5F483D077A8E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635777" y="5874196"/>
            <a:ext cx="5718023" cy="283410"/>
          </a:xfrm>
        </p:spPr>
        <p:txBody>
          <a:bodyPr tIns="0" rIns="0" anchor="ctr">
            <a:normAutofit/>
          </a:bodyPr>
          <a:lstStyle>
            <a:lvl1pPr marL="0" indent="0" algn="r">
              <a:buNone/>
              <a:defRPr sz="1600" b="0" i="1" cap="all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D65298C0-42AD-4828-AC2B-9F50896D1FC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148689" y="477742"/>
            <a:ext cx="576003" cy="648292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64BB4EAA-896B-4896-ACB7-8816651A74B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0800000">
            <a:off x="10787239" y="4769909"/>
            <a:ext cx="576003" cy="648292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C081EB14-FE96-426D-9035-F1E375E5DE3D}"/>
              </a:ext>
            </a:extLst>
          </p:cNvPr>
          <p:cNvGrpSpPr/>
          <p:nvPr userDrawn="1"/>
        </p:nvGrpSpPr>
        <p:grpSpPr>
          <a:xfrm>
            <a:off x="5965074" y="6408183"/>
            <a:ext cx="261852" cy="261455"/>
            <a:chOff x="1830159" y="2890771"/>
            <a:chExt cx="588560" cy="587668"/>
          </a:xfrm>
          <a:solidFill>
            <a:schemeClr val="bg1"/>
          </a:solidFill>
        </p:grpSpPr>
        <p:sp>
          <p:nvSpPr>
            <p:cNvPr id="22" name="Rectangle 15">
              <a:extLst>
                <a:ext uri="{FF2B5EF4-FFF2-40B4-BE49-F238E27FC236}">
                  <a16:creationId xmlns:a16="http://schemas.microsoft.com/office/drawing/2014/main" id="{E70EF6E6-7607-4EB8-892B-B4339EEF192D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15">
              <a:extLst>
                <a:ext uri="{FF2B5EF4-FFF2-40B4-BE49-F238E27FC236}">
                  <a16:creationId xmlns:a16="http://schemas.microsoft.com/office/drawing/2014/main" id="{AE6DB3E6-A1DF-4768-88DB-3B8F5ECF030E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65713530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- 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CF7FEED-AFAF-4ADA-8471-C7D7F7EE26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29027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CF7FEED-AFAF-4ADA-8471-C7D7F7EE26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62CCCF80-7E13-41C4-8F4F-E2685EBCC96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82D4B142-5561-E84B-9903-08A01D9CE4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2311" y="5423763"/>
            <a:ext cx="5387376" cy="409796"/>
          </a:xfrm>
        </p:spPr>
        <p:txBody>
          <a:bodyPr vert="horz" anchor="ctr">
            <a:normAutofit/>
          </a:bodyPr>
          <a:lstStyle>
            <a:lvl1pPr algn="ctr">
              <a:defRPr sz="1800" b="0" cap="none" baseline="0">
                <a:solidFill>
                  <a:srgbClr val="191919"/>
                </a:solidFill>
                <a:latin typeface="+mj-lt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7603CAC7-E5D9-594D-A44A-CCF9DFB8E7F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02311" y="2956560"/>
            <a:ext cx="5387376" cy="2305914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6A226-FB73-094F-8B9B-9EE2B6DCCC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>
                <a:solidFill>
                  <a:srgbClr val="191919"/>
                </a:solidFill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A723612-EAA9-B947-A80A-9F90FDC4CDD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024438" y="385762"/>
            <a:ext cx="2143125" cy="2143125"/>
          </a:xfrm>
          <a:prstGeom prst="ellipse">
            <a:avLst/>
          </a:prstGeom>
          <a:pattFill prst="pct5">
            <a:fgClr>
              <a:schemeClr val="accent1"/>
            </a:fgClr>
            <a:bgClr>
              <a:schemeClr val="bg1">
                <a:lumMod val="95000"/>
              </a:schemeClr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picture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F2624BCA-875F-704B-87DC-AFE69688A3FB}"/>
              </a:ext>
            </a:extLst>
          </p:cNvPr>
          <p:cNvSpPr/>
          <p:nvPr userDrawn="1"/>
        </p:nvSpPr>
        <p:spPr>
          <a:xfrm>
            <a:off x="4891671" y="258568"/>
            <a:ext cx="2388336" cy="2388336"/>
          </a:xfrm>
          <a:prstGeom prst="ellipse">
            <a:avLst/>
          </a:prstGeom>
          <a:noFill/>
          <a:ln w="25400">
            <a:solidFill>
              <a:srgbClr val="0D64E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4DC06168-EBE0-4DCB-AA56-2C044E87BE4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 lIns="0"/>
          <a:lstStyle>
            <a:lvl1pPr>
              <a:defRPr cap="all" baseline="0">
                <a:solidFill>
                  <a:srgbClr val="191919"/>
                </a:solidFill>
              </a:defRPr>
            </a:lvl1pPr>
          </a:lstStyle>
          <a:p>
            <a:r>
              <a:rPr lang="en-US"/>
              <a:t>Company Confidential – Do Not Distribut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7280A5E-92C6-40DC-8234-F5831B0A4742}"/>
              </a:ext>
            </a:extLst>
          </p:cNvPr>
          <p:cNvGrpSpPr/>
          <p:nvPr userDrawn="1"/>
        </p:nvGrpSpPr>
        <p:grpSpPr>
          <a:xfrm>
            <a:off x="5965074" y="6408183"/>
            <a:ext cx="261852" cy="261455"/>
            <a:chOff x="1830159" y="2890771"/>
            <a:chExt cx="588560" cy="587668"/>
          </a:xfrm>
          <a:solidFill>
            <a:srgbClr val="191919"/>
          </a:solidFill>
        </p:grpSpPr>
        <p:sp>
          <p:nvSpPr>
            <p:cNvPr id="15" name="Rectangle 15">
              <a:extLst>
                <a:ext uri="{FF2B5EF4-FFF2-40B4-BE49-F238E27FC236}">
                  <a16:creationId xmlns:a16="http://schemas.microsoft.com/office/drawing/2014/main" id="{3345B7DE-AE87-423C-B802-FC74F50F3B39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5">
              <a:extLst>
                <a:ext uri="{FF2B5EF4-FFF2-40B4-BE49-F238E27FC236}">
                  <a16:creationId xmlns:a16="http://schemas.microsoft.com/office/drawing/2014/main" id="{C90F923E-A01D-4BAD-96C0-40033818341A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4622963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4C01D2-1C72-5245-9DD9-EB2F21CD9F6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432800"/>
            <a:ext cx="10515600" cy="4554898"/>
          </a:xfrm>
        </p:spPr>
        <p:txBody>
          <a:bodyPr>
            <a:normAutofit/>
          </a:bodyPr>
          <a:lstStyle>
            <a:lvl1pPr marL="342900" indent="-342900">
              <a:lnSpc>
                <a:spcPct val="100000"/>
              </a:lnSpc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2000"/>
            </a:lvl1pPr>
            <a:lvl2pPr marL="742950" indent="-285750">
              <a:lnSpc>
                <a:spcPct val="100000"/>
              </a:lnSpc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/>
              <a:t>Click to add text (this is a bullet point)</a:t>
            </a:r>
          </a:p>
          <a:p>
            <a:pPr lvl="1"/>
            <a:r>
              <a:rPr lang="en-US"/>
              <a:t>Second level (this is also a bullet point</a:t>
            </a:r>
          </a:p>
          <a:p>
            <a:pPr lvl="1"/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6DDB0F-D1A3-6D40-A724-9F222B2922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06D5AF-2128-A045-9F79-F530099658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2095EC-613B-DB45-A550-FB3CF937EC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3C29C-B29B-5046-9203-657F307C8DD3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C3300FAC-48F3-9947-81F2-0755EDD127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681038"/>
            <a:ext cx="10515600" cy="583740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>
              <a:defRPr sz="3600"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DFC6F70-0D27-1546-8AC4-4A290C0DA72F}"/>
              </a:ext>
            </a:extLst>
          </p:cNvPr>
          <p:cNvCxnSpPr>
            <a:cxnSpLocks/>
          </p:cNvCxnSpPr>
          <p:nvPr userDrawn="1"/>
        </p:nvCxnSpPr>
        <p:spPr>
          <a:xfrm>
            <a:off x="838199" y="6288108"/>
            <a:ext cx="10515599" cy="0"/>
          </a:xfrm>
          <a:prstGeom prst="line">
            <a:avLst/>
          </a:prstGeom>
          <a:ln w="19050">
            <a:solidFill>
              <a:srgbClr val="1919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D7390E2-F36C-A042-BEBA-2BA63686E00A}"/>
              </a:ext>
            </a:extLst>
          </p:cNvPr>
          <p:cNvGrpSpPr/>
          <p:nvPr userDrawn="1"/>
        </p:nvGrpSpPr>
        <p:grpSpPr>
          <a:xfrm>
            <a:off x="5965074" y="6408183"/>
            <a:ext cx="261852" cy="261455"/>
            <a:chOff x="1830159" y="2890771"/>
            <a:chExt cx="588560" cy="587668"/>
          </a:xfrm>
          <a:solidFill>
            <a:srgbClr val="191919"/>
          </a:solidFill>
        </p:grpSpPr>
        <p:sp>
          <p:nvSpPr>
            <p:cNvPr id="15" name="Rectangle 15">
              <a:extLst>
                <a:ext uri="{FF2B5EF4-FFF2-40B4-BE49-F238E27FC236}">
                  <a16:creationId xmlns:a16="http://schemas.microsoft.com/office/drawing/2014/main" id="{7A90887F-307B-9C40-A48E-93C46FAB6CE9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0227356-2881-F548-A793-EAE5B4EC166F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3282042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Conten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7EA03FE-4A44-294C-9BCF-C12E1AD07E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64C190B-3939-F34A-B18B-E93912ED89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6AA2992-8F6B-4B48-9C23-0A1A3514C3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3C29C-B29B-5046-9203-657F307C8DD3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D9F7139-49F4-DC40-911B-0D7CDF12CF22}"/>
              </a:ext>
            </a:extLst>
          </p:cNvPr>
          <p:cNvCxnSpPr>
            <a:cxnSpLocks/>
          </p:cNvCxnSpPr>
          <p:nvPr userDrawn="1"/>
        </p:nvCxnSpPr>
        <p:spPr>
          <a:xfrm>
            <a:off x="838199" y="6288108"/>
            <a:ext cx="10515599" cy="0"/>
          </a:xfrm>
          <a:prstGeom prst="line">
            <a:avLst/>
          </a:prstGeom>
          <a:ln w="19050">
            <a:solidFill>
              <a:srgbClr val="1919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12BBB06-CE49-584E-A19D-E7DCEC82F783}"/>
              </a:ext>
            </a:extLst>
          </p:cNvPr>
          <p:cNvGrpSpPr/>
          <p:nvPr userDrawn="1"/>
        </p:nvGrpSpPr>
        <p:grpSpPr>
          <a:xfrm>
            <a:off x="5965074" y="6408183"/>
            <a:ext cx="261852" cy="261455"/>
            <a:chOff x="1830159" y="2890771"/>
            <a:chExt cx="588560" cy="587668"/>
          </a:xfrm>
          <a:solidFill>
            <a:srgbClr val="191919"/>
          </a:solidFill>
        </p:grpSpPr>
        <p:sp>
          <p:nvSpPr>
            <p:cNvPr id="13" name="Rectangle 15">
              <a:extLst>
                <a:ext uri="{FF2B5EF4-FFF2-40B4-BE49-F238E27FC236}">
                  <a16:creationId xmlns:a16="http://schemas.microsoft.com/office/drawing/2014/main" id="{40A86F1F-BCCD-F342-9C04-01C51E80EB66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5">
              <a:extLst>
                <a:ext uri="{FF2B5EF4-FFF2-40B4-BE49-F238E27FC236}">
                  <a16:creationId xmlns:a16="http://schemas.microsoft.com/office/drawing/2014/main" id="{675DBEEF-4894-B344-82AE-10F056F7F662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A9300FB6-7E13-6848-B83D-83AC0B1A79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681038"/>
            <a:ext cx="10515601" cy="583740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>
              <a:defRPr sz="3600"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05E67A11-8F7A-435F-99F7-9487D3887A8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38200" y="1508338"/>
            <a:ext cx="5068747" cy="4479359"/>
          </a:xfrm>
        </p:spPr>
        <p:txBody>
          <a:bodyPr>
            <a:normAutofit/>
          </a:bodyPr>
          <a:lstStyle>
            <a:lvl1pPr marL="342900" indent="-342900">
              <a:lnSpc>
                <a:spcPct val="100000"/>
              </a:lnSpc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2000"/>
            </a:lvl1pPr>
            <a:lvl2pPr marL="742950" indent="-285750">
              <a:lnSpc>
                <a:spcPct val="100000"/>
              </a:lnSpc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/>
              <a:t>Click to add text (this is a bullet point)</a:t>
            </a:r>
          </a:p>
          <a:p>
            <a:pPr lvl="1"/>
            <a:r>
              <a:rPr lang="en-US"/>
              <a:t>Second level (this is also a bullet point</a:t>
            </a:r>
          </a:p>
          <a:p>
            <a:pPr lvl="1"/>
            <a:endParaRPr lang="en-US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B42D5BC9-6DFB-4F3B-9AC6-4E4B9D5C5B2C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285051" y="1502626"/>
            <a:ext cx="5068747" cy="4479359"/>
          </a:xfrm>
        </p:spPr>
        <p:txBody>
          <a:bodyPr>
            <a:normAutofit/>
          </a:bodyPr>
          <a:lstStyle>
            <a:lvl1pPr marL="342900" indent="-342900">
              <a:lnSpc>
                <a:spcPct val="100000"/>
              </a:lnSpc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2000"/>
            </a:lvl1pPr>
            <a:lvl2pPr marL="742950" indent="-285750">
              <a:lnSpc>
                <a:spcPct val="100000"/>
              </a:lnSpc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/>
              <a:t>Click to add text (this is a bullet point)</a:t>
            </a:r>
          </a:p>
          <a:p>
            <a:pPr lvl="1"/>
            <a:r>
              <a:rPr lang="en-US"/>
              <a:t>Second level (this is also a bullet point</a:t>
            </a:r>
          </a:p>
          <a:p>
            <a:pPr lvl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323879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Content C">
    <p:bg>
      <p:bgPr>
        <a:blipFill dpi="0" rotWithShape="1">
          <a:blip r:embed="rId2">
            <a:alphaModFix amt="5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7EA03FE-4A44-294C-9BCF-C12E1AD07E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64C190B-3939-F34A-B18B-E93912ED89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6AA2992-8F6B-4B48-9C23-0A1A3514C3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3C29C-B29B-5046-9203-657F307C8DD3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D9F7139-49F4-DC40-911B-0D7CDF12CF22}"/>
              </a:ext>
            </a:extLst>
          </p:cNvPr>
          <p:cNvCxnSpPr>
            <a:cxnSpLocks/>
          </p:cNvCxnSpPr>
          <p:nvPr userDrawn="1"/>
        </p:nvCxnSpPr>
        <p:spPr>
          <a:xfrm>
            <a:off x="838199" y="6288108"/>
            <a:ext cx="10515599" cy="0"/>
          </a:xfrm>
          <a:prstGeom prst="line">
            <a:avLst/>
          </a:prstGeom>
          <a:ln w="19050">
            <a:solidFill>
              <a:srgbClr val="1919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C47C6AB-3E4A-0B46-9425-869163931779}"/>
              </a:ext>
            </a:extLst>
          </p:cNvPr>
          <p:cNvGrpSpPr/>
          <p:nvPr userDrawn="1"/>
        </p:nvGrpSpPr>
        <p:grpSpPr>
          <a:xfrm>
            <a:off x="5965074" y="6408183"/>
            <a:ext cx="261852" cy="261455"/>
            <a:chOff x="1830159" y="2890771"/>
            <a:chExt cx="588560" cy="587668"/>
          </a:xfrm>
          <a:solidFill>
            <a:srgbClr val="191919"/>
          </a:solidFill>
        </p:grpSpPr>
        <p:sp>
          <p:nvSpPr>
            <p:cNvPr id="19" name="Rectangle 15">
              <a:extLst>
                <a:ext uri="{FF2B5EF4-FFF2-40B4-BE49-F238E27FC236}">
                  <a16:creationId xmlns:a16="http://schemas.microsoft.com/office/drawing/2014/main" id="{E917EC7A-BF76-5747-9B00-4A3B9D7F9867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5">
              <a:extLst>
                <a:ext uri="{FF2B5EF4-FFF2-40B4-BE49-F238E27FC236}">
                  <a16:creationId xmlns:a16="http://schemas.microsoft.com/office/drawing/2014/main" id="{AD1DEDEE-69DA-304C-93A3-84B060FB9AB5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A027DBFA-0D0F-D84D-B78A-6B366FDC86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681038"/>
            <a:ext cx="10515600" cy="583740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>
              <a:defRPr sz="3600"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328C4D1C-5C9D-4C8F-AB19-3E8F4060DEE8}"/>
              </a:ext>
            </a:extLst>
          </p:cNvPr>
          <p:cNvSpPr>
            <a:spLocks noGrp="1"/>
          </p:cNvSpPr>
          <p:nvPr>
            <p:ph type="body" sz="half" idx="20" hasCustomPrompt="1"/>
          </p:nvPr>
        </p:nvSpPr>
        <p:spPr>
          <a:xfrm>
            <a:off x="838200" y="3890512"/>
            <a:ext cx="5068747" cy="361243"/>
          </a:xfrm>
        </p:spPr>
        <p:txBody>
          <a:bodyPr anchor="ctr">
            <a:noAutofit/>
          </a:bodyPr>
          <a:lstStyle>
            <a:lvl1pPr marL="0" indent="0" algn="l">
              <a:buNone/>
              <a:defRPr sz="20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FEED996D-9A18-4E42-BA60-137C83EB85D5}"/>
              </a:ext>
            </a:extLst>
          </p:cNvPr>
          <p:cNvSpPr>
            <a:spLocks noGrp="1"/>
          </p:cNvSpPr>
          <p:nvPr>
            <p:ph type="body" sz="half" idx="33" hasCustomPrompt="1"/>
          </p:nvPr>
        </p:nvSpPr>
        <p:spPr>
          <a:xfrm>
            <a:off x="6270763" y="3886630"/>
            <a:ext cx="5083040" cy="365125"/>
          </a:xfrm>
        </p:spPr>
        <p:txBody>
          <a:bodyPr anchor="ctr">
            <a:noAutofit/>
          </a:bodyPr>
          <a:lstStyle>
            <a:lvl1pPr marL="0" indent="0" algn="l">
              <a:buNone/>
              <a:defRPr sz="20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C3066DF2-511E-484D-A8F5-EEB075ACAFB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5346" y="4251756"/>
            <a:ext cx="5061601" cy="1744232"/>
          </a:xfrm>
        </p:spPr>
        <p:txBody>
          <a:bodyPr l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191919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A503AD5F-FD21-4F8C-8B8D-7D68E771C19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70763" y="4251756"/>
            <a:ext cx="5075891" cy="1744232"/>
          </a:xfrm>
        </p:spPr>
        <p:txBody>
          <a:bodyPr l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191919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B8EB21A7-A93A-4253-9CDA-8BD7C5D56439}"/>
              </a:ext>
            </a:extLst>
          </p:cNvPr>
          <p:cNvSpPr>
            <a:spLocks noGrp="1"/>
          </p:cNvSpPr>
          <p:nvPr>
            <p:ph type="body" sz="half" idx="35" hasCustomPrompt="1"/>
          </p:nvPr>
        </p:nvSpPr>
        <p:spPr>
          <a:xfrm>
            <a:off x="821495" y="1560780"/>
            <a:ext cx="5068747" cy="361243"/>
          </a:xfrm>
        </p:spPr>
        <p:txBody>
          <a:bodyPr anchor="ctr">
            <a:noAutofit/>
          </a:bodyPr>
          <a:lstStyle>
            <a:lvl1pPr marL="0" indent="0" algn="l">
              <a:buNone/>
              <a:defRPr sz="20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B36703FA-ACE8-4208-9562-2EF14A5A5851}"/>
              </a:ext>
            </a:extLst>
          </p:cNvPr>
          <p:cNvSpPr>
            <a:spLocks noGrp="1"/>
          </p:cNvSpPr>
          <p:nvPr>
            <p:ph type="body" sz="half" idx="36" hasCustomPrompt="1"/>
          </p:nvPr>
        </p:nvSpPr>
        <p:spPr>
          <a:xfrm>
            <a:off x="6254058" y="1556898"/>
            <a:ext cx="5083040" cy="365125"/>
          </a:xfrm>
        </p:spPr>
        <p:txBody>
          <a:bodyPr anchor="ctr">
            <a:noAutofit/>
          </a:bodyPr>
          <a:lstStyle>
            <a:lvl1pPr marL="0" indent="0" algn="l">
              <a:buNone/>
              <a:defRPr sz="20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F4E6365C-13FE-4860-9F8E-A6A2D84B188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28641" y="1922024"/>
            <a:ext cx="5061601" cy="1744232"/>
          </a:xfrm>
        </p:spPr>
        <p:txBody>
          <a:bodyPr l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191919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02924CE3-FE6F-4520-B1C4-4CACDF7EF6D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254058" y="1922024"/>
            <a:ext cx="5075891" cy="1744232"/>
          </a:xfrm>
        </p:spPr>
        <p:txBody>
          <a:bodyPr l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191919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57775106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Content D - White">
    <p:bg>
      <p:bgPr>
        <a:blipFill dpi="0" rotWithShape="1">
          <a:blip r:embed="rId3">
            <a:alphaModFix amt="5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BDA908-F25A-4000-AF8D-B5F15727EE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99608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BDA908-F25A-4000-AF8D-B5F15727EE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DB5763DF-FE2F-4E55-88DB-D7C31D3E63A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5346" y="1432800"/>
            <a:ext cx="3359941" cy="4563188"/>
          </a:xfrm>
          <a:solidFill>
            <a:schemeClr val="bg1"/>
          </a:solidFill>
        </p:spPr>
        <p:txBody>
          <a:bodyPr lIns="182880" tIns="182880">
            <a:normAutofit/>
          </a:bodyPr>
          <a:lstStyle>
            <a:lvl1pPr marL="0" indent="0">
              <a:lnSpc>
                <a:spcPct val="100000"/>
              </a:lnSpc>
              <a:buNone/>
              <a:defRPr sz="2000"/>
            </a:lvl1pPr>
            <a:lvl2pPr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DC3000F7-1659-48B9-A4E9-C27852D074E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10071" y="1435442"/>
            <a:ext cx="3359941" cy="4563188"/>
          </a:xfrm>
          <a:solidFill>
            <a:schemeClr val="bg1"/>
          </a:solidFill>
        </p:spPr>
        <p:txBody>
          <a:bodyPr lIns="182880" tIns="182880">
            <a:normAutofit/>
          </a:bodyPr>
          <a:lstStyle>
            <a:lvl1pPr marL="0" indent="0">
              <a:lnSpc>
                <a:spcPct val="100000"/>
              </a:lnSpc>
              <a:buNone/>
              <a:defRPr sz="2000"/>
            </a:lvl1pPr>
            <a:lvl2pPr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A83510D9-19BA-470D-87D4-E1590B423B4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974796" y="1435442"/>
            <a:ext cx="3359941" cy="4563188"/>
          </a:xfrm>
          <a:solidFill>
            <a:schemeClr val="bg1"/>
          </a:solidFill>
        </p:spPr>
        <p:txBody>
          <a:bodyPr lIns="182880" tIns="182880">
            <a:normAutofit/>
          </a:bodyPr>
          <a:lstStyle>
            <a:lvl1pPr marL="0" indent="0">
              <a:lnSpc>
                <a:spcPct val="100000"/>
              </a:lnSpc>
              <a:buNone/>
              <a:defRPr sz="2000"/>
            </a:lvl1pPr>
            <a:lvl2pPr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7E86F5F-1E11-484A-A336-4A44B9910B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B83655-DE1E-1447-B3EC-C1C6B5B477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226219"/>
            <a:ext cx="10515600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10C26C-3B29-6040-B88B-2CB45B896D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3C29C-B29B-5046-9203-657F307C8DD3}" type="slidenum">
              <a:rPr lang="en-US" smtClean="0"/>
              <a:t>‹#›</a:t>
            </a:fld>
            <a:endParaRPr lang="en-US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021B6CA-65C1-EF49-87FE-855398DB00CF}"/>
              </a:ext>
            </a:extLst>
          </p:cNvPr>
          <p:cNvCxnSpPr>
            <a:cxnSpLocks/>
          </p:cNvCxnSpPr>
          <p:nvPr userDrawn="1"/>
        </p:nvCxnSpPr>
        <p:spPr>
          <a:xfrm>
            <a:off x="838199" y="6288108"/>
            <a:ext cx="10515599" cy="0"/>
          </a:xfrm>
          <a:prstGeom prst="line">
            <a:avLst/>
          </a:prstGeom>
          <a:ln w="19050">
            <a:solidFill>
              <a:srgbClr val="1919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6197FEE-709F-BD49-8161-5DE8BA920C23}"/>
              </a:ext>
            </a:extLst>
          </p:cNvPr>
          <p:cNvGrpSpPr/>
          <p:nvPr userDrawn="1"/>
        </p:nvGrpSpPr>
        <p:grpSpPr>
          <a:xfrm>
            <a:off x="5965074" y="6408183"/>
            <a:ext cx="261852" cy="261455"/>
            <a:chOff x="1830159" y="2890771"/>
            <a:chExt cx="588560" cy="587668"/>
          </a:xfrm>
          <a:solidFill>
            <a:srgbClr val="191919"/>
          </a:solidFill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AC693BE4-1A05-FF47-A0B7-78AEC10E557E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5">
              <a:extLst>
                <a:ext uri="{FF2B5EF4-FFF2-40B4-BE49-F238E27FC236}">
                  <a16:creationId xmlns:a16="http://schemas.microsoft.com/office/drawing/2014/main" id="{0C4C805E-3C78-E145-BD2F-7E3A334E1DEF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4" name="Title Placeholder 1">
            <a:extLst>
              <a:ext uri="{FF2B5EF4-FFF2-40B4-BE49-F238E27FC236}">
                <a16:creationId xmlns:a16="http://schemas.microsoft.com/office/drawing/2014/main" id="{CB6F61E4-6C4D-C644-B15A-E23C3480B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681038"/>
            <a:ext cx="10515600" cy="583740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>
              <a:defRPr sz="3600"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66C3555-1B8A-4E13-9D67-96454FDF9211}"/>
              </a:ext>
            </a:extLst>
          </p:cNvPr>
          <p:cNvSpPr/>
          <p:nvPr userDrawn="1"/>
        </p:nvSpPr>
        <p:spPr>
          <a:xfrm>
            <a:off x="845346" y="5950269"/>
            <a:ext cx="3359941" cy="45719"/>
          </a:xfrm>
          <a:prstGeom prst="rect">
            <a:avLst/>
          </a:prstGeom>
          <a:solidFill>
            <a:srgbClr val="19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E7E9827-86BA-4859-A37F-03BA2A686CC5}"/>
              </a:ext>
            </a:extLst>
          </p:cNvPr>
          <p:cNvSpPr/>
          <p:nvPr userDrawn="1"/>
        </p:nvSpPr>
        <p:spPr>
          <a:xfrm>
            <a:off x="4411506" y="5950269"/>
            <a:ext cx="3359941" cy="45719"/>
          </a:xfrm>
          <a:prstGeom prst="rect">
            <a:avLst/>
          </a:prstGeom>
          <a:solidFill>
            <a:srgbClr val="19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0FC3F84-290A-4BED-A5D6-6334B0C61E5D}"/>
              </a:ext>
            </a:extLst>
          </p:cNvPr>
          <p:cNvSpPr/>
          <p:nvPr userDrawn="1"/>
        </p:nvSpPr>
        <p:spPr>
          <a:xfrm>
            <a:off x="7970046" y="5950269"/>
            <a:ext cx="3359941" cy="45719"/>
          </a:xfrm>
          <a:prstGeom prst="rect">
            <a:avLst/>
          </a:prstGeom>
          <a:solidFill>
            <a:srgbClr val="19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193056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Content E - Blue 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9ADB4D-E65E-4700-9BCB-76B21A4350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4089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9ADB4D-E65E-4700-9BCB-76B21A4350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7E86F5F-1E11-484A-A336-4A44B9910B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B83655-DE1E-1447-B3EC-C1C6B5B477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226219"/>
            <a:ext cx="105156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10C26C-3B29-6040-B88B-2CB45B896D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021B6CA-65C1-EF49-87FE-855398DB00CF}"/>
              </a:ext>
            </a:extLst>
          </p:cNvPr>
          <p:cNvCxnSpPr>
            <a:cxnSpLocks/>
          </p:cNvCxnSpPr>
          <p:nvPr userDrawn="1"/>
        </p:nvCxnSpPr>
        <p:spPr>
          <a:xfrm>
            <a:off x="838199" y="6288108"/>
            <a:ext cx="10515599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6197FEE-709F-BD49-8161-5DE8BA920C23}"/>
              </a:ext>
            </a:extLst>
          </p:cNvPr>
          <p:cNvGrpSpPr/>
          <p:nvPr userDrawn="1"/>
        </p:nvGrpSpPr>
        <p:grpSpPr>
          <a:xfrm>
            <a:off x="5965074" y="6408183"/>
            <a:ext cx="261852" cy="261455"/>
            <a:chOff x="1830159" y="2890771"/>
            <a:chExt cx="588560" cy="587668"/>
          </a:xfrm>
          <a:solidFill>
            <a:schemeClr val="bg1"/>
          </a:solidFill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AC693BE4-1A05-FF47-A0B7-78AEC10E557E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5">
              <a:extLst>
                <a:ext uri="{FF2B5EF4-FFF2-40B4-BE49-F238E27FC236}">
                  <a16:creationId xmlns:a16="http://schemas.microsoft.com/office/drawing/2014/main" id="{0C4C805E-3C78-E145-BD2F-7E3A334E1DEF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4" name="Title Placeholder 1">
            <a:extLst>
              <a:ext uri="{FF2B5EF4-FFF2-40B4-BE49-F238E27FC236}">
                <a16:creationId xmlns:a16="http://schemas.microsoft.com/office/drawing/2014/main" id="{CB6F61E4-6C4D-C644-B15A-E23C3480B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681038"/>
            <a:ext cx="10515600" cy="583740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FCDAF792-C713-48B1-8F41-27E71E007BA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5346" y="1432800"/>
            <a:ext cx="3359941" cy="4563188"/>
          </a:xfrm>
          <a:solidFill>
            <a:schemeClr val="bg1"/>
          </a:solidFill>
        </p:spPr>
        <p:txBody>
          <a:bodyPr lIns="182880" tIns="182880">
            <a:normAutofit/>
          </a:bodyPr>
          <a:lstStyle>
            <a:lvl1pPr marL="0" indent="0">
              <a:lnSpc>
                <a:spcPct val="100000"/>
              </a:lnSpc>
              <a:buNone/>
              <a:defRPr sz="2000"/>
            </a:lvl1pPr>
            <a:lvl2pPr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8FA29E2F-D9B3-4A76-90B5-A9D8BBEA69C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10071" y="1435442"/>
            <a:ext cx="3359941" cy="4563188"/>
          </a:xfrm>
          <a:solidFill>
            <a:schemeClr val="bg1"/>
          </a:solidFill>
        </p:spPr>
        <p:txBody>
          <a:bodyPr lIns="182880" tIns="182880">
            <a:normAutofit/>
          </a:bodyPr>
          <a:lstStyle>
            <a:lvl1pPr marL="0" indent="0">
              <a:lnSpc>
                <a:spcPct val="100000"/>
              </a:lnSpc>
              <a:buNone/>
              <a:defRPr sz="2000"/>
            </a:lvl1pPr>
            <a:lvl2pPr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DCA0A832-CA2E-4573-A976-428569EFC5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974796" y="1435442"/>
            <a:ext cx="3359941" cy="4563188"/>
          </a:xfrm>
          <a:solidFill>
            <a:schemeClr val="bg1"/>
          </a:solidFill>
        </p:spPr>
        <p:txBody>
          <a:bodyPr lIns="182880" tIns="182880">
            <a:normAutofit/>
          </a:bodyPr>
          <a:lstStyle>
            <a:lvl1pPr marL="0" indent="0">
              <a:lnSpc>
                <a:spcPct val="100000"/>
              </a:lnSpc>
              <a:buNone/>
              <a:defRPr sz="2000"/>
            </a:lvl1pPr>
            <a:lvl2pPr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9FE7415-5915-48AA-90EB-EFEDE4F0F4A6}"/>
              </a:ext>
            </a:extLst>
          </p:cNvPr>
          <p:cNvSpPr/>
          <p:nvPr userDrawn="1"/>
        </p:nvSpPr>
        <p:spPr>
          <a:xfrm>
            <a:off x="845346" y="5950269"/>
            <a:ext cx="3359941" cy="45719"/>
          </a:xfrm>
          <a:prstGeom prst="rect">
            <a:avLst/>
          </a:prstGeom>
          <a:solidFill>
            <a:srgbClr val="19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429F859-7548-4BA0-806D-FB9EDDD01534}"/>
              </a:ext>
            </a:extLst>
          </p:cNvPr>
          <p:cNvSpPr/>
          <p:nvPr userDrawn="1"/>
        </p:nvSpPr>
        <p:spPr>
          <a:xfrm>
            <a:off x="4411506" y="5950269"/>
            <a:ext cx="3359941" cy="45719"/>
          </a:xfrm>
          <a:prstGeom prst="rect">
            <a:avLst/>
          </a:prstGeom>
          <a:solidFill>
            <a:srgbClr val="19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882A5DF-86B5-4966-831D-2D5BD8F6C8E5}"/>
              </a:ext>
            </a:extLst>
          </p:cNvPr>
          <p:cNvSpPr/>
          <p:nvPr userDrawn="1"/>
        </p:nvSpPr>
        <p:spPr>
          <a:xfrm>
            <a:off x="7970046" y="5950269"/>
            <a:ext cx="3359941" cy="45719"/>
          </a:xfrm>
          <a:prstGeom prst="rect">
            <a:avLst/>
          </a:prstGeom>
          <a:solidFill>
            <a:srgbClr val="19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410933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Content F - Black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9ADB4D-E65E-4700-9BCB-76B21A4350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4089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9ADB4D-E65E-4700-9BCB-76B21A4350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7E86F5F-1E11-484A-A336-4A44B9910B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B83655-DE1E-1447-B3EC-C1C6B5B477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226219"/>
            <a:ext cx="105156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10C26C-3B29-6040-B88B-2CB45B896D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021B6CA-65C1-EF49-87FE-855398DB00CF}"/>
              </a:ext>
            </a:extLst>
          </p:cNvPr>
          <p:cNvCxnSpPr>
            <a:cxnSpLocks/>
          </p:cNvCxnSpPr>
          <p:nvPr userDrawn="1"/>
        </p:nvCxnSpPr>
        <p:spPr>
          <a:xfrm>
            <a:off x="838199" y="6288108"/>
            <a:ext cx="10515599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6197FEE-709F-BD49-8161-5DE8BA920C23}"/>
              </a:ext>
            </a:extLst>
          </p:cNvPr>
          <p:cNvGrpSpPr/>
          <p:nvPr userDrawn="1"/>
        </p:nvGrpSpPr>
        <p:grpSpPr>
          <a:xfrm>
            <a:off x="5965074" y="6408183"/>
            <a:ext cx="261852" cy="261455"/>
            <a:chOff x="1830159" y="2890771"/>
            <a:chExt cx="588560" cy="587668"/>
          </a:xfrm>
          <a:solidFill>
            <a:schemeClr val="bg1"/>
          </a:solidFill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AC693BE4-1A05-FF47-A0B7-78AEC10E557E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5">
              <a:extLst>
                <a:ext uri="{FF2B5EF4-FFF2-40B4-BE49-F238E27FC236}">
                  <a16:creationId xmlns:a16="http://schemas.microsoft.com/office/drawing/2014/main" id="{0C4C805E-3C78-E145-BD2F-7E3A334E1DEF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4" name="Title Placeholder 1">
            <a:extLst>
              <a:ext uri="{FF2B5EF4-FFF2-40B4-BE49-F238E27FC236}">
                <a16:creationId xmlns:a16="http://schemas.microsoft.com/office/drawing/2014/main" id="{CB6F61E4-6C4D-C644-B15A-E23C3480B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681038"/>
            <a:ext cx="10515600" cy="583740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FCDAF792-C713-48B1-8F41-27E71E007BA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5346" y="1432800"/>
            <a:ext cx="3359941" cy="4563188"/>
          </a:xfrm>
          <a:solidFill>
            <a:schemeClr val="bg1"/>
          </a:solidFill>
        </p:spPr>
        <p:txBody>
          <a:bodyPr lIns="182880" tIns="182880">
            <a:normAutofit/>
          </a:bodyPr>
          <a:lstStyle>
            <a:lvl1pPr marL="0" indent="0">
              <a:lnSpc>
                <a:spcPct val="100000"/>
              </a:lnSpc>
              <a:buNone/>
              <a:defRPr sz="2000"/>
            </a:lvl1pPr>
            <a:lvl2pPr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8FA29E2F-D9B3-4A76-90B5-A9D8BBEA69C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10071" y="1435442"/>
            <a:ext cx="3359941" cy="4563188"/>
          </a:xfrm>
          <a:solidFill>
            <a:schemeClr val="bg1"/>
          </a:solidFill>
        </p:spPr>
        <p:txBody>
          <a:bodyPr lIns="182880" tIns="182880">
            <a:normAutofit/>
          </a:bodyPr>
          <a:lstStyle>
            <a:lvl1pPr marL="0" indent="0">
              <a:lnSpc>
                <a:spcPct val="100000"/>
              </a:lnSpc>
              <a:buNone/>
              <a:defRPr sz="2000"/>
            </a:lvl1pPr>
            <a:lvl2pPr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DCA0A832-CA2E-4573-A976-428569EFC5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974796" y="1435442"/>
            <a:ext cx="3359941" cy="4563188"/>
          </a:xfrm>
          <a:solidFill>
            <a:schemeClr val="bg1"/>
          </a:solidFill>
        </p:spPr>
        <p:txBody>
          <a:bodyPr lIns="182880" tIns="182880">
            <a:normAutofit/>
          </a:bodyPr>
          <a:lstStyle>
            <a:lvl1pPr marL="0" indent="0">
              <a:lnSpc>
                <a:spcPct val="100000"/>
              </a:lnSpc>
              <a:buNone/>
              <a:defRPr sz="2000"/>
            </a:lvl1pPr>
            <a:lvl2pPr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9FE7415-5915-48AA-90EB-EFEDE4F0F4A6}"/>
              </a:ext>
            </a:extLst>
          </p:cNvPr>
          <p:cNvSpPr/>
          <p:nvPr userDrawn="1"/>
        </p:nvSpPr>
        <p:spPr>
          <a:xfrm>
            <a:off x="845346" y="5950269"/>
            <a:ext cx="3359941" cy="45719"/>
          </a:xfrm>
          <a:prstGeom prst="rect">
            <a:avLst/>
          </a:prstGeom>
          <a:solidFill>
            <a:srgbClr val="C1F5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429F859-7548-4BA0-806D-FB9EDDD01534}"/>
              </a:ext>
            </a:extLst>
          </p:cNvPr>
          <p:cNvSpPr/>
          <p:nvPr userDrawn="1"/>
        </p:nvSpPr>
        <p:spPr>
          <a:xfrm>
            <a:off x="4411506" y="5950269"/>
            <a:ext cx="3359941" cy="45719"/>
          </a:xfrm>
          <a:prstGeom prst="rect">
            <a:avLst/>
          </a:prstGeom>
          <a:solidFill>
            <a:srgbClr val="C1F5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882A5DF-86B5-4966-831D-2D5BD8F6C8E5}"/>
              </a:ext>
            </a:extLst>
          </p:cNvPr>
          <p:cNvSpPr/>
          <p:nvPr userDrawn="1"/>
        </p:nvSpPr>
        <p:spPr>
          <a:xfrm>
            <a:off x="7970046" y="5950269"/>
            <a:ext cx="3359941" cy="45719"/>
          </a:xfrm>
          <a:prstGeom prst="rect">
            <a:avLst/>
          </a:prstGeom>
          <a:solidFill>
            <a:srgbClr val="C1F5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19768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fety Moment C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267D1C7-D7FE-4287-9127-2687B06D87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20888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6267D1C7-D7FE-4287-9127-2687B06D87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>
            <a:extLst>
              <a:ext uri="{FF2B5EF4-FFF2-40B4-BE49-F238E27FC236}">
                <a16:creationId xmlns:a16="http://schemas.microsoft.com/office/drawing/2014/main" id="{4292FB37-FE92-4F70-B87E-3B6F6246D9AE}"/>
              </a:ext>
            </a:extLst>
          </p:cNvPr>
          <p:cNvSpPr/>
          <p:nvPr userDrawn="1"/>
        </p:nvSpPr>
        <p:spPr>
          <a:xfrm>
            <a:off x="0" y="0"/>
            <a:ext cx="6303791" cy="6854825"/>
          </a:xfrm>
          <a:prstGeom prst="rect">
            <a:avLst/>
          </a:prstGeom>
          <a:solidFill>
            <a:srgbClr val="191919">
              <a:alpha val="6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1DDD94-83AE-854D-AA85-D405490CA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868D98-9614-6F4D-9879-BC271C28C5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8" y="226219"/>
            <a:ext cx="5366657" cy="365125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EACD14E-3A5E-8D43-BC54-0BECAB9BF8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654171"/>
            <a:ext cx="4866435" cy="678441"/>
          </a:xfrm>
        </p:spPr>
        <p:txBody>
          <a:bodyPr vert="horz" lIns="0" anchor="b">
            <a:noAutofit/>
          </a:bodyPr>
          <a:lstStyle>
            <a:lvl1pPr>
              <a:lnSpc>
                <a:spcPct val="80000"/>
              </a:lnSpc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DB545FF1-6901-E241-AC06-FB93F7BD485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8198" y="2353754"/>
            <a:ext cx="4866437" cy="3642234"/>
          </a:xfrm>
        </p:spPr>
        <p:txBody>
          <a:bodyPr lIns="0"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D8FF389-3BA2-43E1-BC8E-A4C38CF92D1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884863" y="0"/>
            <a:ext cx="6307137" cy="6858000"/>
          </a:xfrm>
          <a:custGeom>
            <a:avLst/>
            <a:gdLst>
              <a:gd name="connsiteX0" fmla="*/ 431961 w 6307137"/>
              <a:gd name="connsiteY0" fmla="*/ 0 h 6858000"/>
              <a:gd name="connsiteX1" fmla="*/ 6307137 w 6307137"/>
              <a:gd name="connsiteY1" fmla="*/ 0 h 6858000"/>
              <a:gd name="connsiteX2" fmla="*/ 6307137 w 6307137"/>
              <a:gd name="connsiteY2" fmla="*/ 6858000 h 6858000"/>
              <a:gd name="connsiteX3" fmla="*/ 0 w 6307137"/>
              <a:gd name="connsiteY3" fmla="*/ 6858000 h 6858000"/>
              <a:gd name="connsiteX4" fmla="*/ 0 w 6307137"/>
              <a:gd name="connsiteY4" fmla="*/ 1948540 h 6858000"/>
              <a:gd name="connsiteX5" fmla="*/ 431961 w 6307137"/>
              <a:gd name="connsiteY5" fmla="*/ 194854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07137" h="6858000">
                <a:moveTo>
                  <a:pt x="431961" y="0"/>
                </a:moveTo>
                <a:lnTo>
                  <a:pt x="6307137" y="0"/>
                </a:lnTo>
                <a:lnTo>
                  <a:pt x="6307137" y="6858000"/>
                </a:lnTo>
                <a:lnTo>
                  <a:pt x="0" y="6858000"/>
                </a:lnTo>
                <a:lnTo>
                  <a:pt x="0" y="1948540"/>
                </a:lnTo>
                <a:lnTo>
                  <a:pt x="431961" y="1948540"/>
                </a:lnTo>
                <a:close/>
              </a:path>
            </a:pathLst>
          </a:custGeom>
          <a:pattFill prst="pct5">
            <a:fgClr>
              <a:schemeClr val="accent1"/>
            </a:fgClr>
            <a:bgClr>
              <a:schemeClr val="bg1">
                <a:lumMod val="95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70C78FDC-26C5-47AE-8377-B093E46A79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05056" y="6365182"/>
            <a:ext cx="51919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A9E03AD-7469-48F0-8653-6624500574CD}"/>
              </a:ext>
            </a:extLst>
          </p:cNvPr>
          <p:cNvSpPr/>
          <p:nvPr userDrawn="1"/>
        </p:nvSpPr>
        <p:spPr>
          <a:xfrm rot="16200000">
            <a:off x="5320632" y="952998"/>
            <a:ext cx="1945365" cy="45719"/>
          </a:xfrm>
          <a:prstGeom prst="rect">
            <a:avLst/>
          </a:prstGeom>
          <a:solidFill>
            <a:srgbClr val="C1F5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8FB8945-9F9E-4947-8210-F64FC24485F5}"/>
              </a:ext>
            </a:extLst>
          </p:cNvPr>
          <p:cNvSpPr/>
          <p:nvPr userDrawn="1"/>
        </p:nvSpPr>
        <p:spPr>
          <a:xfrm rot="16200000">
            <a:off x="3410625" y="4380407"/>
            <a:ext cx="4909453" cy="45719"/>
          </a:xfrm>
          <a:prstGeom prst="rect">
            <a:avLst/>
          </a:prstGeom>
          <a:solidFill>
            <a:srgbClr val="C1F5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D5D17E21-926E-45AD-AA01-F5A434D116A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5400000">
            <a:off x="6002005" y="1688998"/>
            <a:ext cx="195645" cy="195645"/>
          </a:xfrm>
          <a:prstGeom prst="rect">
            <a:avLst/>
          </a:prstGeom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E30413F-E719-49DA-8114-11931687A75E}"/>
              </a:ext>
            </a:extLst>
          </p:cNvPr>
          <p:cNvCxnSpPr>
            <a:cxnSpLocks/>
          </p:cNvCxnSpPr>
          <p:nvPr userDrawn="1"/>
        </p:nvCxnSpPr>
        <p:spPr>
          <a:xfrm>
            <a:off x="838199" y="6291060"/>
            <a:ext cx="4912156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9B8DDF8-5B8C-4E57-A0F7-6FFA772C0BC2}"/>
              </a:ext>
            </a:extLst>
          </p:cNvPr>
          <p:cNvGrpSpPr/>
          <p:nvPr userDrawn="1"/>
        </p:nvGrpSpPr>
        <p:grpSpPr>
          <a:xfrm>
            <a:off x="5488503" y="6408183"/>
            <a:ext cx="261852" cy="261455"/>
            <a:chOff x="1830159" y="2890771"/>
            <a:chExt cx="588560" cy="587668"/>
          </a:xfrm>
          <a:solidFill>
            <a:schemeClr val="bg1"/>
          </a:solidFill>
        </p:grpSpPr>
        <p:sp>
          <p:nvSpPr>
            <p:cNvPr id="23" name="Rectangle 15">
              <a:extLst>
                <a:ext uri="{FF2B5EF4-FFF2-40B4-BE49-F238E27FC236}">
                  <a16:creationId xmlns:a16="http://schemas.microsoft.com/office/drawing/2014/main" id="{4B2D169A-B371-41FD-A0ED-6C46D422A9B5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15">
              <a:extLst>
                <a:ext uri="{FF2B5EF4-FFF2-40B4-BE49-F238E27FC236}">
                  <a16:creationId xmlns:a16="http://schemas.microsoft.com/office/drawing/2014/main" id="{40AC2A94-BA0D-4B03-8960-DBF8A2710E52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" name="Graphic 5">
            <a:extLst>
              <a:ext uri="{FF2B5EF4-FFF2-40B4-BE49-F238E27FC236}">
                <a16:creationId xmlns:a16="http://schemas.microsoft.com/office/drawing/2014/main" id="{496AFE4A-1B0A-4F6F-B5E1-4862F2CDE91B}"/>
              </a:ext>
            </a:extLst>
          </p:cNvPr>
          <p:cNvGrpSpPr/>
          <p:nvPr/>
        </p:nvGrpSpPr>
        <p:grpSpPr>
          <a:xfrm>
            <a:off x="868698" y="1108782"/>
            <a:ext cx="519195" cy="519060"/>
            <a:chOff x="2667000" y="-9"/>
            <a:chExt cx="6857419" cy="6855633"/>
          </a:xfrm>
          <a:solidFill>
            <a:srgbClr val="C1F50E"/>
          </a:solidFill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7FAC4AE5-C77D-4B56-9BCC-AD0443821145}"/>
                </a:ext>
              </a:extLst>
            </p:cNvPr>
            <p:cNvSpPr/>
            <p:nvPr/>
          </p:nvSpPr>
          <p:spPr>
            <a:xfrm>
              <a:off x="6101482" y="-9"/>
              <a:ext cx="3422936" cy="6546219"/>
            </a:xfrm>
            <a:custGeom>
              <a:avLst/>
              <a:gdLst>
                <a:gd name="connsiteX0" fmla="*/ 2937797 w 3422936"/>
                <a:gd name="connsiteY0" fmla="*/ 3428139 h 6546219"/>
                <a:gd name="connsiteX1" fmla="*/ 1165167 w 3422936"/>
                <a:gd name="connsiteY1" fmla="*/ 6128594 h 6546219"/>
                <a:gd name="connsiteX2" fmla="*/ 1123801 w 3422936"/>
                <a:gd name="connsiteY2" fmla="*/ 6324755 h 6546219"/>
                <a:gd name="connsiteX3" fmla="*/ 1304794 w 3422936"/>
                <a:gd name="connsiteY3" fmla="*/ 6509231 h 6546219"/>
                <a:gd name="connsiteX4" fmla="*/ 1443334 w 3422936"/>
                <a:gd name="connsiteY4" fmla="*/ 6535067 h 6546219"/>
                <a:gd name="connsiteX5" fmla="*/ 3422937 w 3422936"/>
                <a:gd name="connsiteY5" fmla="*/ 3428139 h 6546219"/>
                <a:gd name="connsiteX6" fmla="*/ 55405 w 3422936"/>
                <a:gd name="connsiteY6" fmla="*/ 9 h 6546219"/>
                <a:gd name="connsiteX7" fmla="*/ 15418 w 3422936"/>
                <a:gd name="connsiteY7" fmla="*/ 92901 h 6546219"/>
                <a:gd name="connsiteX8" fmla="*/ 373268 w 3422936"/>
                <a:gd name="connsiteY8" fmla="*/ 457718 h 6546219"/>
                <a:gd name="connsiteX9" fmla="*/ 513911 w 3422936"/>
                <a:gd name="connsiteY9" fmla="*/ 530652 h 6546219"/>
                <a:gd name="connsiteX10" fmla="*/ 2937870 w 3422936"/>
                <a:gd name="connsiteY10" fmla="*/ 3428211 h 6546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22936" h="6546219">
                  <a:moveTo>
                    <a:pt x="2937797" y="3428139"/>
                  </a:moveTo>
                  <a:cubicBezTo>
                    <a:pt x="2937797" y="4635292"/>
                    <a:pt x="2207293" y="5675023"/>
                    <a:pt x="1165167" y="6128594"/>
                  </a:cubicBezTo>
                  <a:cubicBezTo>
                    <a:pt x="1086209" y="6162993"/>
                    <a:pt x="1063494" y="6263287"/>
                    <a:pt x="1123801" y="6324755"/>
                  </a:cubicBezTo>
                  <a:lnTo>
                    <a:pt x="1304794" y="6509231"/>
                  </a:lnTo>
                  <a:cubicBezTo>
                    <a:pt x="1340790" y="6545953"/>
                    <a:pt x="1396742" y="6556838"/>
                    <a:pt x="1443334" y="6535067"/>
                  </a:cubicBezTo>
                  <a:cubicBezTo>
                    <a:pt x="2611661" y="5988023"/>
                    <a:pt x="3422937" y="4801118"/>
                    <a:pt x="3422937" y="3428139"/>
                  </a:cubicBezTo>
                  <a:cubicBezTo>
                    <a:pt x="3422864" y="1558046"/>
                    <a:pt x="1917878" y="32739"/>
                    <a:pt x="55405" y="9"/>
                  </a:cubicBezTo>
                  <a:cubicBezTo>
                    <a:pt x="7217" y="-861"/>
                    <a:pt x="-18400" y="58429"/>
                    <a:pt x="15418" y="92901"/>
                  </a:cubicBezTo>
                  <a:cubicBezTo>
                    <a:pt x="146555" y="226577"/>
                    <a:pt x="373268" y="457718"/>
                    <a:pt x="373268" y="457718"/>
                  </a:cubicBezTo>
                  <a:cubicBezTo>
                    <a:pt x="411222" y="496325"/>
                    <a:pt x="460571" y="521072"/>
                    <a:pt x="513911" y="530652"/>
                  </a:cubicBezTo>
                  <a:cubicBezTo>
                    <a:pt x="1890011" y="776742"/>
                    <a:pt x="2937870" y="1982371"/>
                    <a:pt x="2937870" y="3428211"/>
                  </a:cubicBezTo>
                  <a:close/>
                </a:path>
              </a:pathLst>
            </a:custGeom>
            <a:grpFill/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BD05A8A4-A22A-4A56-873E-8DC24BFE984F}"/>
                </a:ext>
              </a:extLst>
            </p:cNvPr>
            <p:cNvSpPr/>
            <p:nvPr/>
          </p:nvSpPr>
          <p:spPr>
            <a:xfrm>
              <a:off x="2667000" y="319009"/>
              <a:ext cx="3394825" cy="6536614"/>
            </a:xfrm>
            <a:custGeom>
              <a:avLst/>
              <a:gdLst>
                <a:gd name="connsiteX0" fmla="*/ 3016069 w 3394825"/>
                <a:gd name="connsiteY0" fmla="*/ 6073373 h 6536614"/>
                <a:gd name="connsiteX1" fmla="*/ 2878255 w 3394825"/>
                <a:gd name="connsiteY1" fmla="*/ 6000946 h 6536614"/>
                <a:gd name="connsiteX2" fmla="*/ 485067 w 3394825"/>
                <a:gd name="connsiteY2" fmla="*/ 3109193 h 6536614"/>
                <a:gd name="connsiteX3" fmla="*/ 2239337 w 3394825"/>
                <a:gd name="connsiteY3" fmla="*/ 416793 h 6536614"/>
                <a:gd name="connsiteX4" fmla="*/ 2279904 w 3394825"/>
                <a:gd name="connsiteY4" fmla="*/ 220995 h 6536614"/>
                <a:gd name="connsiteX5" fmla="*/ 2099274 w 3394825"/>
                <a:gd name="connsiteY5" fmla="*/ 36954 h 6536614"/>
                <a:gd name="connsiteX6" fmla="*/ 1960154 w 3394825"/>
                <a:gd name="connsiteY6" fmla="*/ 11481 h 6536614"/>
                <a:gd name="connsiteX7" fmla="*/ 0 w 3394825"/>
                <a:gd name="connsiteY7" fmla="*/ 3109120 h 6536614"/>
                <a:gd name="connsiteX8" fmla="*/ 3339012 w 3394825"/>
                <a:gd name="connsiteY8" fmla="*/ 6536596 h 6536614"/>
                <a:gd name="connsiteX9" fmla="*/ 3379434 w 3394825"/>
                <a:gd name="connsiteY9" fmla="*/ 6443777 h 6536614"/>
                <a:gd name="connsiteX10" fmla="*/ 3016069 w 3394825"/>
                <a:gd name="connsiteY10" fmla="*/ 6073300 h 6536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394825" h="6536614">
                  <a:moveTo>
                    <a:pt x="3016069" y="6073373"/>
                  </a:moveTo>
                  <a:cubicBezTo>
                    <a:pt x="2978840" y="6035418"/>
                    <a:pt x="2930507" y="6010889"/>
                    <a:pt x="2878255" y="6000946"/>
                  </a:cubicBezTo>
                  <a:cubicBezTo>
                    <a:pt x="1517324" y="5742447"/>
                    <a:pt x="485067" y="4544220"/>
                    <a:pt x="485067" y="3109193"/>
                  </a:cubicBezTo>
                  <a:cubicBezTo>
                    <a:pt x="485067" y="1909079"/>
                    <a:pt x="1207008" y="874573"/>
                    <a:pt x="2239337" y="416793"/>
                  </a:cubicBezTo>
                  <a:cubicBezTo>
                    <a:pt x="2317714" y="382031"/>
                    <a:pt x="2339993" y="282173"/>
                    <a:pt x="2279904" y="220995"/>
                  </a:cubicBezTo>
                  <a:lnTo>
                    <a:pt x="2099274" y="36954"/>
                  </a:lnTo>
                  <a:cubicBezTo>
                    <a:pt x="2063061" y="87"/>
                    <a:pt x="2006818" y="-10726"/>
                    <a:pt x="1960154" y="11481"/>
                  </a:cubicBezTo>
                  <a:cubicBezTo>
                    <a:pt x="802277" y="562443"/>
                    <a:pt x="0" y="1743761"/>
                    <a:pt x="0" y="3109120"/>
                  </a:cubicBezTo>
                  <a:cubicBezTo>
                    <a:pt x="0" y="4969707"/>
                    <a:pt x="1489746" y="6488917"/>
                    <a:pt x="3339012" y="6536596"/>
                  </a:cubicBezTo>
                  <a:cubicBezTo>
                    <a:pt x="3387417" y="6537830"/>
                    <a:pt x="3413325" y="6478394"/>
                    <a:pt x="3379434" y="6443777"/>
                  </a:cubicBezTo>
                  <a:cubicBezTo>
                    <a:pt x="3246483" y="6308141"/>
                    <a:pt x="3016069" y="6073300"/>
                    <a:pt x="3016069" y="6073300"/>
                  </a:cubicBezTo>
                  <a:close/>
                </a:path>
              </a:pathLst>
            </a:custGeom>
            <a:grpFill/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8F468D1-50DC-4524-B718-53BA20D5381E}"/>
                </a:ext>
              </a:extLst>
            </p:cNvPr>
            <p:cNvSpPr/>
            <p:nvPr/>
          </p:nvSpPr>
          <p:spPr>
            <a:xfrm>
              <a:off x="4402790" y="1412965"/>
              <a:ext cx="3385882" cy="4029673"/>
            </a:xfrm>
            <a:custGeom>
              <a:avLst/>
              <a:gdLst>
                <a:gd name="connsiteX0" fmla="*/ 3385576 w 3385882"/>
                <a:gd name="connsiteY0" fmla="*/ 3774077 h 4029673"/>
                <a:gd name="connsiteX1" fmla="*/ 3385503 w 3385882"/>
                <a:gd name="connsiteY1" fmla="*/ 3421525 h 4029673"/>
                <a:gd name="connsiteX2" fmla="*/ 3320987 w 3385882"/>
                <a:gd name="connsiteY2" fmla="*/ 3247572 h 4029673"/>
                <a:gd name="connsiteX3" fmla="*/ 3140792 w 3385882"/>
                <a:gd name="connsiteY3" fmla="*/ 3176815 h 4029673"/>
                <a:gd name="connsiteX4" fmla="*/ 3061689 w 3385882"/>
                <a:gd name="connsiteY4" fmla="*/ 3176959 h 4029673"/>
                <a:gd name="connsiteX5" fmla="*/ 3053053 w 3385882"/>
                <a:gd name="connsiteY5" fmla="*/ 3176959 h 4029673"/>
                <a:gd name="connsiteX6" fmla="*/ 2938028 w 3385882"/>
                <a:gd name="connsiteY6" fmla="*/ 3177323 h 4029673"/>
                <a:gd name="connsiteX7" fmla="*/ 2502454 w 3385882"/>
                <a:gd name="connsiteY7" fmla="*/ 1904710 h 4029673"/>
                <a:gd name="connsiteX8" fmla="*/ 2364714 w 3385882"/>
                <a:gd name="connsiteY8" fmla="*/ 1503245 h 4029673"/>
                <a:gd name="connsiteX9" fmla="*/ 1906062 w 3385882"/>
                <a:gd name="connsiteY9" fmla="*/ 166842 h 4029673"/>
                <a:gd name="connsiteX10" fmla="*/ 1685227 w 3385882"/>
                <a:gd name="connsiteY10" fmla="*/ 0 h 4029673"/>
                <a:gd name="connsiteX11" fmla="*/ 1681889 w 3385882"/>
                <a:gd name="connsiteY11" fmla="*/ 0 h 4029673"/>
                <a:gd name="connsiteX12" fmla="*/ 1464683 w 3385882"/>
                <a:gd name="connsiteY12" fmla="*/ 167713 h 4029673"/>
                <a:gd name="connsiteX13" fmla="*/ 1347843 w 3385882"/>
                <a:gd name="connsiteY13" fmla="*/ 510758 h 4029673"/>
                <a:gd name="connsiteX14" fmla="*/ 988179 w 3385882"/>
                <a:gd name="connsiteY14" fmla="*/ 1567035 h 4029673"/>
                <a:gd name="connsiteX15" fmla="*/ 985276 w 3385882"/>
                <a:gd name="connsiteY15" fmla="*/ 1575743 h 4029673"/>
                <a:gd name="connsiteX16" fmla="*/ 441135 w 3385882"/>
                <a:gd name="connsiteY16" fmla="*/ 3177032 h 4029673"/>
                <a:gd name="connsiteX17" fmla="*/ 237064 w 3385882"/>
                <a:gd name="connsiteY17" fmla="*/ 3177177 h 4029673"/>
                <a:gd name="connsiteX18" fmla="*/ 264 w 3385882"/>
                <a:gd name="connsiteY18" fmla="*/ 3415067 h 4029673"/>
                <a:gd name="connsiteX19" fmla="*/ 264 w 3385882"/>
                <a:gd name="connsiteY19" fmla="*/ 3478711 h 4029673"/>
                <a:gd name="connsiteX20" fmla="*/ 554 w 3385882"/>
                <a:gd name="connsiteY20" fmla="*/ 3795631 h 4029673"/>
                <a:gd name="connsiteX21" fmla="*/ 130384 w 3385882"/>
                <a:gd name="connsiteY21" fmla="*/ 4002823 h 4029673"/>
                <a:gd name="connsiteX22" fmla="*/ 262755 w 3385882"/>
                <a:gd name="connsiteY22" fmla="*/ 4028658 h 4029673"/>
                <a:gd name="connsiteX23" fmla="*/ 1410834 w 3385882"/>
                <a:gd name="connsiteY23" fmla="*/ 4029456 h 4029673"/>
                <a:gd name="connsiteX24" fmla="*/ 2578799 w 3385882"/>
                <a:gd name="connsiteY24" fmla="*/ 4029456 h 4029673"/>
                <a:gd name="connsiteX25" fmla="*/ 2742520 w 3385882"/>
                <a:gd name="connsiteY25" fmla="*/ 4029311 h 4029673"/>
                <a:gd name="connsiteX26" fmla="*/ 2778443 w 3385882"/>
                <a:gd name="connsiteY26" fmla="*/ 4029311 h 4029673"/>
                <a:gd name="connsiteX27" fmla="*/ 3131213 w 3385882"/>
                <a:gd name="connsiteY27" fmla="*/ 4029674 h 4029673"/>
                <a:gd name="connsiteX28" fmla="*/ 3132664 w 3385882"/>
                <a:gd name="connsiteY28" fmla="*/ 4029674 h 4029673"/>
                <a:gd name="connsiteX29" fmla="*/ 3322511 w 3385882"/>
                <a:gd name="connsiteY29" fmla="*/ 3956667 h 4029673"/>
                <a:gd name="connsiteX30" fmla="*/ 3385576 w 3385882"/>
                <a:gd name="connsiteY30" fmla="*/ 3774005 h 4029673"/>
                <a:gd name="connsiteX31" fmla="*/ 3093113 w 3385882"/>
                <a:gd name="connsiteY31" fmla="*/ 3660793 h 4029673"/>
                <a:gd name="connsiteX32" fmla="*/ 3093113 w 3385882"/>
                <a:gd name="connsiteY32" fmla="*/ 3673203 h 4029673"/>
                <a:gd name="connsiteX33" fmla="*/ 3093258 w 3385882"/>
                <a:gd name="connsiteY33" fmla="*/ 3738372 h 4029673"/>
                <a:gd name="connsiteX34" fmla="*/ 3019235 w 3385882"/>
                <a:gd name="connsiteY34" fmla="*/ 3738372 h 4029673"/>
                <a:gd name="connsiteX35" fmla="*/ 2972935 w 3385882"/>
                <a:gd name="connsiteY35" fmla="*/ 3738372 h 4029673"/>
                <a:gd name="connsiteX36" fmla="*/ 291638 w 3385882"/>
                <a:gd name="connsiteY36" fmla="*/ 3738372 h 4029673"/>
                <a:gd name="connsiteX37" fmla="*/ 291710 w 3385882"/>
                <a:gd name="connsiteY37" fmla="*/ 3569353 h 4029673"/>
                <a:gd name="connsiteX38" fmla="*/ 291710 w 3385882"/>
                <a:gd name="connsiteY38" fmla="*/ 3468334 h 4029673"/>
                <a:gd name="connsiteX39" fmla="*/ 3093476 w 3385882"/>
                <a:gd name="connsiteY39" fmla="*/ 3468334 h 4029673"/>
                <a:gd name="connsiteX40" fmla="*/ 3093113 w 3385882"/>
                <a:gd name="connsiteY40" fmla="*/ 3660866 h 4029673"/>
                <a:gd name="connsiteX41" fmla="*/ 1685808 w 3385882"/>
                <a:gd name="connsiteY41" fmla="*/ 423817 h 4029673"/>
                <a:gd name="connsiteX42" fmla="*/ 1981971 w 3385882"/>
                <a:gd name="connsiteY42" fmla="*/ 1287127 h 4029673"/>
                <a:gd name="connsiteX43" fmla="*/ 1996123 w 3385882"/>
                <a:gd name="connsiteY43" fmla="*/ 1328420 h 4029673"/>
                <a:gd name="connsiteX44" fmla="*/ 1377742 w 3385882"/>
                <a:gd name="connsiteY44" fmla="*/ 1328420 h 4029673"/>
                <a:gd name="connsiteX45" fmla="*/ 1685808 w 3385882"/>
                <a:gd name="connsiteY45" fmla="*/ 423817 h 4029673"/>
                <a:gd name="connsiteX46" fmla="*/ 1074684 w 3385882"/>
                <a:gd name="connsiteY46" fmla="*/ 2217783 h 4029673"/>
                <a:gd name="connsiteX47" fmla="*/ 1133902 w 3385882"/>
                <a:gd name="connsiteY47" fmla="*/ 2043974 h 4029673"/>
                <a:gd name="connsiteX48" fmla="*/ 1277303 w 3385882"/>
                <a:gd name="connsiteY48" fmla="*/ 1620375 h 4029673"/>
                <a:gd name="connsiteX49" fmla="*/ 2097433 w 3385882"/>
                <a:gd name="connsiteY49" fmla="*/ 1620593 h 4029673"/>
                <a:gd name="connsiteX50" fmla="*/ 2280168 w 3385882"/>
                <a:gd name="connsiteY50" fmla="*/ 2155517 h 4029673"/>
                <a:gd name="connsiteX51" fmla="*/ 2308834 w 3385882"/>
                <a:gd name="connsiteY51" fmla="*/ 2238901 h 4029673"/>
                <a:gd name="connsiteX52" fmla="*/ 2323348 w 3385882"/>
                <a:gd name="connsiteY52" fmla="*/ 2281283 h 4029673"/>
                <a:gd name="connsiteX53" fmla="*/ 1052549 w 3385882"/>
                <a:gd name="connsiteY53" fmla="*/ 2283460 h 4029673"/>
                <a:gd name="connsiteX54" fmla="*/ 1074684 w 3385882"/>
                <a:gd name="connsiteY54" fmla="*/ 2217783 h 4029673"/>
                <a:gd name="connsiteX55" fmla="*/ 759070 w 3385882"/>
                <a:gd name="connsiteY55" fmla="*/ 3145826 h 4029673"/>
                <a:gd name="connsiteX56" fmla="*/ 791800 w 3385882"/>
                <a:gd name="connsiteY56" fmla="*/ 3049742 h 4029673"/>
                <a:gd name="connsiteX57" fmla="*/ 799420 w 3385882"/>
                <a:gd name="connsiteY57" fmla="*/ 3027317 h 4029673"/>
                <a:gd name="connsiteX58" fmla="*/ 952256 w 3385882"/>
                <a:gd name="connsiteY58" fmla="*/ 2576939 h 4029673"/>
                <a:gd name="connsiteX59" fmla="*/ 2425601 w 3385882"/>
                <a:gd name="connsiteY59" fmla="*/ 2577084 h 4029673"/>
                <a:gd name="connsiteX60" fmla="*/ 2584387 w 3385882"/>
                <a:gd name="connsiteY60" fmla="*/ 3041759 h 4029673"/>
                <a:gd name="connsiteX61" fmla="*/ 2620745 w 3385882"/>
                <a:gd name="connsiteY61" fmla="*/ 3147713 h 4029673"/>
                <a:gd name="connsiteX62" fmla="*/ 2630180 w 3385882"/>
                <a:gd name="connsiteY62" fmla="*/ 3175218 h 4029673"/>
                <a:gd name="connsiteX63" fmla="*/ 749056 w 3385882"/>
                <a:gd name="connsiteY63" fmla="*/ 3175218 h 4029673"/>
                <a:gd name="connsiteX64" fmla="*/ 759070 w 3385882"/>
                <a:gd name="connsiteY64" fmla="*/ 3145826 h 4029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3385882" h="4029673">
                  <a:moveTo>
                    <a:pt x="3385576" y="3774077"/>
                  </a:moveTo>
                  <a:cubicBezTo>
                    <a:pt x="3380786" y="3664277"/>
                    <a:pt x="3380786" y="3548961"/>
                    <a:pt x="3385503" y="3421525"/>
                  </a:cubicBezTo>
                  <a:cubicBezTo>
                    <a:pt x="3387898" y="3354397"/>
                    <a:pt x="3365038" y="3292638"/>
                    <a:pt x="3320987" y="3247572"/>
                  </a:cubicBezTo>
                  <a:cubicBezTo>
                    <a:pt x="3275267" y="3200836"/>
                    <a:pt x="3211332" y="3175798"/>
                    <a:pt x="3140792" y="3176815"/>
                  </a:cubicBezTo>
                  <a:cubicBezTo>
                    <a:pt x="3114812" y="3177250"/>
                    <a:pt x="3087815" y="3177105"/>
                    <a:pt x="3061689" y="3176959"/>
                  </a:cubicBezTo>
                  <a:lnTo>
                    <a:pt x="3053053" y="3176959"/>
                  </a:lnTo>
                  <a:cubicBezTo>
                    <a:pt x="3012414" y="3176524"/>
                    <a:pt x="2975184" y="3176379"/>
                    <a:pt x="2938028" y="3177323"/>
                  </a:cubicBezTo>
                  <a:cubicBezTo>
                    <a:pt x="2793393" y="2752925"/>
                    <a:pt x="2645492" y="2321851"/>
                    <a:pt x="2502454" y="1904710"/>
                  </a:cubicBezTo>
                  <a:lnTo>
                    <a:pt x="2364714" y="1503245"/>
                  </a:lnTo>
                  <a:cubicBezTo>
                    <a:pt x="2211950" y="1057729"/>
                    <a:pt x="2059115" y="612285"/>
                    <a:pt x="1906062" y="166842"/>
                  </a:cubicBezTo>
                  <a:cubicBezTo>
                    <a:pt x="1868543" y="57694"/>
                    <a:pt x="1792197" y="0"/>
                    <a:pt x="1685227" y="0"/>
                  </a:cubicBezTo>
                  <a:cubicBezTo>
                    <a:pt x="1684138" y="0"/>
                    <a:pt x="1682977" y="0"/>
                    <a:pt x="1681889" y="0"/>
                  </a:cubicBezTo>
                  <a:cubicBezTo>
                    <a:pt x="1576733" y="1161"/>
                    <a:pt x="1501694" y="59146"/>
                    <a:pt x="1464683" y="167713"/>
                  </a:cubicBezTo>
                  <a:lnTo>
                    <a:pt x="1347843" y="510758"/>
                  </a:lnTo>
                  <a:cubicBezTo>
                    <a:pt x="1227955" y="862802"/>
                    <a:pt x="1108066" y="1214846"/>
                    <a:pt x="988179" y="1567035"/>
                  </a:cubicBezTo>
                  <a:lnTo>
                    <a:pt x="985276" y="1575743"/>
                  </a:lnTo>
                  <a:cubicBezTo>
                    <a:pt x="820538" y="2059795"/>
                    <a:pt x="629313" y="2621643"/>
                    <a:pt x="441135" y="3177032"/>
                  </a:cubicBezTo>
                  <a:cubicBezTo>
                    <a:pt x="371757" y="3176016"/>
                    <a:pt x="302306" y="3176524"/>
                    <a:pt x="237064" y="3177177"/>
                  </a:cubicBezTo>
                  <a:cubicBezTo>
                    <a:pt x="100122" y="3178556"/>
                    <a:pt x="481" y="3278632"/>
                    <a:pt x="264" y="3415067"/>
                  </a:cubicBezTo>
                  <a:lnTo>
                    <a:pt x="264" y="3478711"/>
                  </a:lnTo>
                  <a:cubicBezTo>
                    <a:pt x="-27" y="3582126"/>
                    <a:pt x="-244" y="3689096"/>
                    <a:pt x="554" y="3795631"/>
                  </a:cubicBezTo>
                  <a:cubicBezTo>
                    <a:pt x="1207" y="3892079"/>
                    <a:pt x="48524" y="3967553"/>
                    <a:pt x="130384" y="4002823"/>
                  </a:cubicBezTo>
                  <a:cubicBezTo>
                    <a:pt x="179442" y="4024013"/>
                    <a:pt x="229444" y="4028585"/>
                    <a:pt x="262755" y="4028658"/>
                  </a:cubicBezTo>
                  <a:cubicBezTo>
                    <a:pt x="649125" y="4029601"/>
                    <a:pt x="1036366" y="4029529"/>
                    <a:pt x="1410834" y="4029456"/>
                  </a:cubicBezTo>
                  <a:lnTo>
                    <a:pt x="2578799" y="4029456"/>
                  </a:lnTo>
                  <a:cubicBezTo>
                    <a:pt x="2633373" y="4029456"/>
                    <a:pt x="2687947" y="4029384"/>
                    <a:pt x="2742520" y="4029311"/>
                  </a:cubicBezTo>
                  <a:lnTo>
                    <a:pt x="2778443" y="4029311"/>
                  </a:lnTo>
                  <a:cubicBezTo>
                    <a:pt x="2894122" y="4029238"/>
                    <a:pt x="3013720" y="4029166"/>
                    <a:pt x="3131213" y="4029674"/>
                  </a:cubicBezTo>
                  <a:lnTo>
                    <a:pt x="3132664" y="4029674"/>
                  </a:lnTo>
                  <a:cubicBezTo>
                    <a:pt x="3210896" y="4029674"/>
                    <a:pt x="3276501" y="4004419"/>
                    <a:pt x="3322511" y="3956667"/>
                  </a:cubicBezTo>
                  <a:cubicBezTo>
                    <a:pt x="3366998" y="3910439"/>
                    <a:pt x="3388769" y="3847302"/>
                    <a:pt x="3385576" y="3774005"/>
                  </a:cubicBezTo>
                  <a:close/>
                  <a:moveTo>
                    <a:pt x="3093113" y="3660793"/>
                  </a:moveTo>
                  <a:lnTo>
                    <a:pt x="3093113" y="3673203"/>
                  </a:lnTo>
                  <a:cubicBezTo>
                    <a:pt x="3093185" y="3694974"/>
                    <a:pt x="3093185" y="3716673"/>
                    <a:pt x="3093258" y="3738372"/>
                  </a:cubicBezTo>
                  <a:cubicBezTo>
                    <a:pt x="3067640" y="3738445"/>
                    <a:pt x="3042313" y="3738445"/>
                    <a:pt x="3019235" y="3738372"/>
                  </a:cubicBezTo>
                  <a:cubicBezTo>
                    <a:pt x="3003778" y="3738372"/>
                    <a:pt x="2988392" y="3738372"/>
                    <a:pt x="2972935" y="3738372"/>
                  </a:cubicBezTo>
                  <a:lnTo>
                    <a:pt x="291638" y="3738372"/>
                  </a:lnTo>
                  <a:cubicBezTo>
                    <a:pt x="291638" y="3682057"/>
                    <a:pt x="291710" y="3625669"/>
                    <a:pt x="291710" y="3569353"/>
                  </a:cubicBezTo>
                  <a:lnTo>
                    <a:pt x="291710" y="3468334"/>
                  </a:lnTo>
                  <a:lnTo>
                    <a:pt x="3093476" y="3468334"/>
                  </a:lnTo>
                  <a:cubicBezTo>
                    <a:pt x="3092822" y="3532923"/>
                    <a:pt x="3092968" y="3597874"/>
                    <a:pt x="3093113" y="3660866"/>
                  </a:cubicBezTo>
                  <a:close/>
                  <a:moveTo>
                    <a:pt x="1685808" y="423817"/>
                  </a:moveTo>
                  <a:cubicBezTo>
                    <a:pt x="1785158" y="712361"/>
                    <a:pt x="1885089" y="1004098"/>
                    <a:pt x="1981971" y="1287127"/>
                  </a:cubicBezTo>
                  <a:lnTo>
                    <a:pt x="1996123" y="1328420"/>
                  </a:lnTo>
                  <a:lnTo>
                    <a:pt x="1377742" y="1328420"/>
                  </a:lnTo>
                  <a:cubicBezTo>
                    <a:pt x="1473319" y="1047206"/>
                    <a:pt x="1579345" y="735294"/>
                    <a:pt x="1685808" y="423817"/>
                  </a:cubicBezTo>
                  <a:close/>
                  <a:moveTo>
                    <a:pt x="1074684" y="2217783"/>
                  </a:moveTo>
                  <a:lnTo>
                    <a:pt x="1133902" y="2043974"/>
                  </a:lnTo>
                  <a:cubicBezTo>
                    <a:pt x="1181146" y="1905290"/>
                    <a:pt x="1229987" y="1762034"/>
                    <a:pt x="1277303" y="1620375"/>
                  </a:cubicBezTo>
                  <a:cubicBezTo>
                    <a:pt x="1527965" y="1621609"/>
                    <a:pt x="1796769" y="1621681"/>
                    <a:pt x="2097433" y="1620593"/>
                  </a:cubicBezTo>
                  <a:cubicBezTo>
                    <a:pt x="2160135" y="1806085"/>
                    <a:pt x="2226465" y="1999198"/>
                    <a:pt x="2280168" y="2155517"/>
                  </a:cubicBezTo>
                  <a:lnTo>
                    <a:pt x="2308834" y="2238901"/>
                  </a:lnTo>
                  <a:cubicBezTo>
                    <a:pt x="2313623" y="2253053"/>
                    <a:pt x="2318485" y="2267132"/>
                    <a:pt x="2323348" y="2281283"/>
                  </a:cubicBezTo>
                  <a:cubicBezTo>
                    <a:pt x="2051640" y="2287452"/>
                    <a:pt x="1326942" y="2288685"/>
                    <a:pt x="1052549" y="2283460"/>
                  </a:cubicBezTo>
                  <a:cubicBezTo>
                    <a:pt x="1059879" y="2261471"/>
                    <a:pt x="1067281" y="2239627"/>
                    <a:pt x="1074684" y="2217783"/>
                  </a:cubicBezTo>
                  <a:close/>
                  <a:moveTo>
                    <a:pt x="759070" y="3145826"/>
                  </a:moveTo>
                  <a:cubicBezTo>
                    <a:pt x="769956" y="3113750"/>
                    <a:pt x="780915" y="3081746"/>
                    <a:pt x="791800" y="3049742"/>
                  </a:cubicBezTo>
                  <a:lnTo>
                    <a:pt x="799420" y="3027317"/>
                  </a:lnTo>
                  <a:cubicBezTo>
                    <a:pt x="849712" y="2879707"/>
                    <a:pt x="901601" y="2727307"/>
                    <a:pt x="952256" y="2576939"/>
                  </a:cubicBezTo>
                  <a:cubicBezTo>
                    <a:pt x="1418672" y="2577810"/>
                    <a:pt x="1901127" y="2577882"/>
                    <a:pt x="2425601" y="2577084"/>
                  </a:cubicBezTo>
                  <a:cubicBezTo>
                    <a:pt x="2477489" y="2730065"/>
                    <a:pt x="2530394" y="2884279"/>
                    <a:pt x="2584387" y="3041759"/>
                  </a:cubicBezTo>
                  <a:cubicBezTo>
                    <a:pt x="2596506" y="3077101"/>
                    <a:pt x="2608626" y="3112371"/>
                    <a:pt x="2620745" y="3147713"/>
                  </a:cubicBezTo>
                  <a:lnTo>
                    <a:pt x="2630180" y="3175218"/>
                  </a:lnTo>
                  <a:lnTo>
                    <a:pt x="749056" y="3175218"/>
                  </a:lnTo>
                  <a:lnTo>
                    <a:pt x="759070" y="3145826"/>
                  </a:lnTo>
                  <a:close/>
                </a:path>
              </a:pathLst>
            </a:custGeom>
            <a:grpFill/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50F055E9-DFE5-4AE6-AC4E-0E12B6EA232D}"/>
              </a:ext>
            </a:extLst>
          </p:cNvPr>
          <p:cNvSpPr txBox="1"/>
          <p:nvPr userDrawn="1"/>
        </p:nvSpPr>
        <p:spPr>
          <a:xfrm>
            <a:off x="1430265" y="1174433"/>
            <a:ext cx="28732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spc="600">
                <a:solidFill>
                  <a:srgbClr val="C1F50E"/>
                </a:solidFill>
              </a:rPr>
              <a:t>SAFETY MOMENT</a:t>
            </a:r>
          </a:p>
        </p:txBody>
      </p:sp>
    </p:spTree>
    <p:extLst>
      <p:ext uri="{BB962C8B-B14F-4D97-AF65-F5344CB8AC3E}">
        <p14:creationId xmlns:p14="http://schemas.microsoft.com/office/powerpoint/2010/main" val="409948077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Content 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7E86F5F-1E11-484A-A336-4A44B9910B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B83655-DE1E-1447-B3EC-C1C6B5B477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226219"/>
            <a:ext cx="10515600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10C26C-3B29-6040-B88B-2CB45B896D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3C29C-B29B-5046-9203-657F307C8DD3}" type="slidenum">
              <a:rPr lang="en-US" smtClean="0"/>
              <a:t>‹#›</a:t>
            </a:fld>
            <a:endParaRPr lang="en-US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021B6CA-65C1-EF49-87FE-855398DB00CF}"/>
              </a:ext>
            </a:extLst>
          </p:cNvPr>
          <p:cNvCxnSpPr>
            <a:cxnSpLocks/>
          </p:cNvCxnSpPr>
          <p:nvPr userDrawn="1"/>
        </p:nvCxnSpPr>
        <p:spPr>
          <a:xfrm>
            <a:off x="838199" y="6288108"/>
            <a:ext cx="10515599" cy="0"/>
          </a:xfrm>
          <a:prstGeom prst="line">
            <a:avLst/>
          </a:prstGeom>
          <a:ln w="19050">
            <a:solidFill>
              <a:srgbClr val="1919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E28973C-87C5-8544-9FB7-9BA9CE091173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831060" y="1432800"/>
            <a:ext cx="3381375" cy="2053557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6078D074-CEBD-D645-9D8E-72E829B71B74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407802" y="1432800"/>
            <a:ext cx="3381375" cy="2053557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44E554E8-80CA-AC4F-99CD-191479E63918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984574" y="1432800"/>
            <a:ext cx="3381375" cy="2053557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99FC1D6C-02F4-FA4E-8BE5-5DDDC397CC5E}"/>
              </a:ext>
            </a:extLst>
          </p:cNvPr>
          <p:cNvGrpSpPr/>
          <p:nvPr userDrawn="1"/>
        </p:nvGrpSpPr>
        <p:grpSpPr>
          <a:xfrm>
            <a:off x="5965074" y="6408183"/>
            <a:ext cx="261852" cy="261455"/>
            <a:chOff x="1830159" y="2890771"/>
            <a:chExt cx="588560" cy="587668"/>
          </a:xfrm>
          <a:solidFill>
            <a:srgbClr val="191919"/>
          </a:solidFill>
        </p:grpSpPr>
        <p:sp>
          <p:nvSpPr>
            <p:cNvPr id="28" name="Rectangle 15">
              <a:extLst>
                <a:ext uri="{FF2B5EF4-FFF2-40B4-BE49-F238E27FC236}">
                  <a16:creationId xmlns:a16="http://schemas.microsoft.com/office/drawing/2014/main" id="{C6C75780-7949-9F4E-A0A4-42490DA4CCEF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tangle 15">
              <a:extLst>
                <a:ext uri="{FF2B5EF4-FFF2-40B4-BE49-F238E27FC236}">
                  <a16:creationId xmlns:a16="http://schemas.microsoft.com/office/drawing/2014/main" id="{5EF5E9E0-36E0-9943-80FB-CF8D2AF6891F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0" name="Title Placeholder 1">
            <a:extLst>
              <a:ext uri="{FF2B5EF4-FFF2-40B4-BE49-F238E27FC236}">
                <a16:creationId xmlns:a16="http://schemas.microsoft.com/office/drawing/2014/main" id="{EB3733CF-1613-2741-B28A-D6B7200813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681038"/>
            <a:ext cx="10515600" cy="583740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>
              <a:defRPr sz="3600"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6AC0BA44-79DC-426B-B5C7-605F1DB33185}"/>
              </a:ext>
            </a:extLst>
          </p:cNvPr>
          <p:cNvSpPr>
            <a:spLocks noGrp="1"/>
          </p:cNvSpPr>
          <p:nvPr>
            <p:ph type="body" sz="half" idx="20" hasCustomPrompt="1"/>
          </p:nvPr>
        </p:nvSpPr>
        <p:spPr>
          <a:xfrm>
            <a:off x="823912" y="3598166"/>
            <a:ext cx="3381375" cy="653590"/>
          </a:xfrm>
        </p:spPr>
        <p:txBody>
          <a:bodyPr anchor="ctr">
            <a:noAutofit/>
          </a:bodyPr>
          <a:lstStyle>
            <a:lvl1pPr marL="0" indent="0" algn="l">
              <a:buNone/>
              <a:defRPr sz="20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56C1868E-3C6B-44C2-A9B8-0F69C4F142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1059" y="4251755"/>
            <a:ext cx="3381376" cy="1925203"/>
          </a:xfrm>
        </p:spPr>
        <p:txBody>
          <a:bodyPr lIns="0">
            <a:normAutofit/>
          </a:bodyPr>
          <a:lstStyle>
            <a:lvl1pPr marL="0" indent="0">
              <a:lnSpc>
                <a:spcPct val="100000"/>
              </a:lnSpc>
              <a:buNone/>
              <a:defRPr sz="2000"/>
            </a:lvl1pPr>
            <a:lvl2pPr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E868787A-BC7D-4C7C-839E-8F8E98CCCDBB}"/>
              </a:ext>
            </a:extLst>
          </p:cNvPr>
          <p:cNvSpPr>
            <a:spLocks noGrp="1"/>
          </p:cNvSpPr>
          <p:nvPr>
            <p:ph type="body" sz="half" idx="28" hasCustomPrompt="1"/>
          </p:nvPr>
        </p:nvSpPr>
        <p:spPr>
          <a:xfrm>
            <a:off x="4410187" y="3597612"/>
            <a:ext cx="3381375" cy="653590"/>
          </a:xfrm>
        </p:spPr>
        <p:txBody>
          <a:bodyPr anchor="ctr">
            <a:noAutofit/>
          </a:bodyPr>
          <a:lstStyle>
            <a:lvl1pPr marL="0" indent="0" algn="l">
              <a:buNone/>
              <a:defRPr sz="20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7E6AFC56-DC6B-43C9-8E61-F7B46A85C85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417334" y="4251201"/>
            <a:ext cx="3381376" cy="1925203"/>
          </a:xfrm>
        </p:spPr>
        <p:txBody>
          <a:bodyPr lIns="0">
            <a:normAutofit/>
          </a:bodyPr>
          <a:lstStyle>
            <a:lvl1pPr marL="0" indent="0">
              <a:lnSpc>
                <a:spcPct val="100000"/>
              </a:lnSpc>
              <a:buNone/>
              <a:defRPr sz="2000"/>
            </a:lvl1pPr>
            <a:lvl2pPr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477B0F92-58DF-4263-A552-9DB29208CD2F}"/>
              </a:ext>
            </a:extLst>
          </p:cNvPr>
          <p:cNvSpPr>
            <a:spLocks noGrp="1"/>
          </p:cNvSpPr>
          <p:nvPr>
            <p:ph type="body" sz="half" idx="30" hasCustomPrompt="1"/>
          </p:nvPr>
        </p:nvSpPr>
        <p:spPr>
          <a:xfrm>
            <a:off x="7976908" y="3597612"/>
            <a:ext cx="3381375" cy="653590"/>
          </a:xfrm>
        </p:spPr>
        <p:txBody>
          <a:bodyPr anchor="ctr">
            <a:noAutofit/>
          </a:bodyPr>
          <a:lstStyle>
            <a:lvl1pPr marL="0" indent="0" algn="l">
              <a:buNone/>
              <a:defRPr sz="20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6" name="Text Placeholder 7">
            <a:extLst>
              <a:ext uri="{FF2B5EF4-FFF2-40B4-BE49-F238E27FC236}">
                <a16:creationId xmlns:a16="http://schemas.microsoft.com/office/drawing/2014/main" id="{5397AE31-A886-4156-AEA2-88ECC0E564C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984055" y="4251201"/>
            <a:ext cx="3381376" cy="1925203"/>
          </a:xfrm>
        </p:spPr>
        <p:txBody>
          <a:bodyPr lIns="0">
            <a:normAutofit/>
          </a:bodyPr>
          <a:lstStyle>
            <a:lvl1pPr marL="0" indent="0">
              <a:lnSpc>
                <a:spcPct val="100000"/>
              </a:lnSpc>
              <a:buNone/>
              <a:defRPr sz="2000"/>
            </a:lvl1pPr>
            <a:lvl2pPr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F7CD419-D465-4DC9-830F-EC4687929E89}"/>
              </a:ext>
            </a:extLst>
          </p:cNvPr>
          <p:cNvSpPr/>
          <p:nvPr userDrawn="1"/>
        </p:nvSpPr>
        <p:spPr>
          <a:xfrm>
            <a:off x="831060" y="3486153"/>
            <a:ext cx="3390896" cy="53977"/>
          </a:xfrm>
          <a:prstGeom prst="rect">
            <a:avLst/>
          </a:prstGeom>
          <a:solidFill>
            <a:srgbClr val="19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5D9A6B98-FCE7-41ED-BAA0-79965E66BC30}"/>
              </a:ext>
            </a:extLst>
          </p:cNvPr>
          <p:cNvSpPr/>
          <p:nvPr userDrawn="1"/>
        </p:nvSpPr>
        <p:spPr>
          <a:xfrm>
            <a:off x="4407802" y="3477538"/>
            <a:ext cx="3390908" cy="62591"/>
          </a:xfrm>
          <a:prstGeom prst="rect">
            <a:avLst/>
          </a:prstGeom>
          <a:solidFill>
            <a:srgbClr val="19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047D1AD5-4CF4-4004-BBA1-53EC80CD8A8E}"/>
              </a:ext>
            </a:extLst>
          </p:cNvPr>
          <p:cNvSpPr/>
          <p:nvPr userDrawn="1"/>
        </p:nvSpPr>
        <p:spPr>
          <a:xfrm>
            <a:off x="7984574" y="3477538"/>
            <a:ext cx="3390908" cy="62591"/>
          </a:xfrm>
          <a:prstGeom prst="rect">
            <a:avLst/>
          </a:prstGeom>
          <a:solidFill>
            <a:srgbClr val="1919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372053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Content H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7E86F5F-1E11-484A-A336-4A44B9910B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B83655-DE1E-1447-B3EC-C1C6B5B477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10C26C-3B29-6040-B88B-2CB45B896D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5F696F00-260B-A44D-9082-F990F81D56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681038"/>
            <a:ext cx="10515600" cy="583740"/>
          </a:xfrm>
        </p:spPr>
        <p:txBody>
          <a:bodyPr>
            <a:noAutofit/>
          </a:bodyPr>
          <a:lstStyle>
            <a:lvl1pPr>
              <a:defRPr sz="3600"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88C8A7A1-3ADB-46A3-808D-FC13B78ACE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5346" y="1435442"/>
            <a:ext cx="3359941" cy="2584110"/>
          </a:xfrm>
        </p:spPr>
        <p:txBody>
          <a:bodyPr l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191919"/>
                </a:solidFill>
              </a:defRPr>
            </a:lvl1pPr>
            <a:lvl2pPr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E2E51ADD-C3F3-4A2C-9C11-EB716DAB3E9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90743" y="1501426"/>
            <a:ext cx="3390908" cy="2568016"/>
          </a:xfrm>
        </p:spPr>
        <p:txBody>
          <a:bodyPr l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191919"/>
                </a:solidFill>
              </a:defRPr>
            </a:lvl1pPr>
            <a:lvl2pPr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7F08864C-0895-4BBE-AB75-2B96FB47E63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993846" y="1435442"/>
            <a:ext cx="3381636" cy="2568016"/>
          </a:xfrm>
        </p:spPr>
        <p:txBody>
          <a:bodyPr l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191919"/>
                </a:solidFill>
              </a:defRPr>
            </a:lvl1pPr>
            <a:lvl2pPr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/>
              <a:t>Click to add text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CFDC8EA-DAD3-40C5-9FEC-7DFF8F1ADF5A}"/>
              </a:ext>
            </a:extLst>
          </p:cNvPr>
          <p:cNvGrpSpPr/>
          <p:nvPr userDrawn="1"/>
        </p:nvGrpSpPr>
        <p:grpSpPr>
          <a:xfrm>
            <a:off x="5965074" y="6408183"/>
            <a:ext cx="261852" cy="261455"/>
            <a:chOff x="1830159" y="2890771"/>
            <a:chExt cx="588560" cy="587668"/>
          </a:xfrm>
          <a:solidFill>
            <a:schemeClr val="bg1"/>
          </a:solidFill>
        </p:grpSpPr>
        <p:sp>
          <p:nvSpPr>
            <p:cNvPr id="17" name="Rectangle 15">
              <a:extLst>
                <a:ext uri="{FF2B5EF4-FFF2-40B4-BE49-F238E27FC236}">
                  <a16:creationId xmlns:a16="http://schemas.microsoft.com/office/drawing/2014/main" id="{B26C857D-A205-4B02-863B-50B5A751D609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5">
              <a:extLst>
                <a:ext uri="{FF2B5EF4-FFF2-40B4-BE49-F238E27FC236}">
                  <a16:creationId xmlns:a16="http://schemas.microsoft.com/office/drawing/2014/main" id="{6DCBDE9A-DD07-4CE9-9335-C09858068495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7EB771D-6E0C-47D1-AD53-8AF68D3528C7}"/>
              </a:ext>
            </a:extLst>
          </p:cNvPr>
          <p:cNvSpPr/>
          <p:nvPr userDrawn="1"/>
        </p:nvSpPr>
        <p:spPr>
          <a:xfrm>
            <a:off x="237172" y="3942998"/>
            <a:ext cx="2743200" cy="539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57E2912-48F0-4EBD-9CC1-FB9FD1C4E69D}"/>
              </a:ext>
            </a:extLst>
          </p:cNvPr>
          <p:cNvSpPr/>
          <p:nvPr userDrawn="1"/>
        </p:nvSpPr>
        <p:spPr>
          <a:xfrm>
            <a:off x="3271360" y="3942998"/>
            <a:ext cx="2743200" cy="6259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1D7DE77-5A4F-4F54-9A59-42673CD0BA71}"/>
              </a:ext>
            </a:extLst>
          </p:cNvPr>
          <p:cNvSpPr/>
          <p:nvPr userDrawn="1"/>
        </p:nvSpPr>
        <p:spPr>
          <a:xfrm>
            <a:off x="6264366" y="3942998"/>
            <a:ext cx="2743200" cy="6259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FAA580A-4623-4954-BC8D-409994E0DFD8}"/>
              </a:ext>
            </a:extLst>
          </p:cNvPr>
          <p:cNvSpPr/>
          <p:nvPr userDrawn="1"/>
        </p:nvSpPr>
        <p:spPr>
          <a:xfrm>
            <a:off x="9257372" y="3942998"/>
            <a:ext cx="2743200" cy="6259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7D6F3593-9679-4FFD-8A32-F540C976293D}"/>
              </a:ext>
            </a:extLst>
          </p:cNvPr>
          <p:cNvCxnSpPr>
            <a:cxnSpLocks/>
          </p:cNvCxnSpPr>
          <p:nvPr userDrawn="1"/>
        </p:nvCxnSpPr>
        <p:spPr>
          <a:xfrm>
            <a:off x="838199" y="6288108"/>
            <a:ext cx="10515599" cy="0"/>
          </a:xfrm>
          <a:prstGeom prst="line">
            <a:avLst/>
          </a:prstGeom>
          <a:ln w="19050">
            <a:solidFill>
              <a:srgbClr val="1919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>
            <a:extLst>
              <a:ext uri="{FF2B5EF4-FFF2-40B4-BE49-F238E27FC236}">
                <a16:creationId xmlns:a16="http://schemas.microsoft.com/office/drawing/2014/main" id="{D0976C0C-9AC2-44F9-9E7B-5A17CF9A7A80}"/>
              </a:ext>
            </a:extLst>
          </p:cNvPr>
          <p:cNvGrpSpPr/>
          <p:nvPr userDrawn="1"/>
        </p:nvGrpSpPr>
        <p:grpSpPr>
          <a:xfrm>
            <a:off x="6117474" y="6402933"/>
            <a:ext cx="261852" cy="261455"/>
            <a:chOff x="1830159" y="2890771"/>
            <a:chExt cx="588560" cy="587668"/>
          </a:xfrm>
          <a:solidFill>
            <a:srgbClr val="191919"/>
          </a:solidFill>
        </p:grpSpPr>
        <p:sp>
          <p:nvSpPr>
            <p:cNvPr id="31" name="Rectangle 15">
              <a:extLst>
                <a:ext uri="{FF2B5EF4-FFF2-40B4-BE49-F238E27FC236}">
                  <a16:creationId xmlns:a16="http://schemas.microsoft.com/office/drawing/2014/main" id="{5A98FE4A-47F1-44C6-A55D-E45E018F4E8C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tangle 15">
              <a:extLst>
                <a:ext uri="{FF2B5EF4-FFF2-40B4-BE49-F238E27FC236}">
                  <a16:creationId xmlns:a16="http://schemas.microsoft.com/office/drawing/2014/main" id="{B7F155A2-5495-457B-9241-B7BA03EEA9A6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25833460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Content I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1DDD94-83AE-854D-AA85-D405490CA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/>
          <a:lstStyle>
            <a:lvl1pPr>
              <a:defRPr cap="all" baseline="0"/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868D98-9614-6F4D-9879-BC271C28C5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226219"/>
            <a:ext cx="5080356" cy="365125"/>
          </a:xfrm>
        </p:spPr>
        <p:txBody>
          <a:bodyPr lIns="0"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6A226-FB73-094F-8B9B-9EE2B6DCCC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/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36291356-EA70-0A40-94CE-60E422391F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49" y="839983"/>
            <a:ext cx="5086351" cy="5093453"/>
          </a:xfrm>
        </p:spPr>
        <p:txBody>
          <a:bodyPr anchor="ctr">
            <a:normAutofit/>
          </a:bodyPr>
          <a:lstStyle>
            <a:lvl1pPr>
              <a:defRPr sz="40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DFF7D848-7D6B-5447-B5C0-AE96D3D2C7B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86500" y="839984"/>
            <a:ext cx="5067300" cy="5093454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buNone/>
              <a:defRPr sz="2000"/>
            </a:lvl1pPr>
          </a:lstStyle>
          <a:p>
            <a:pPr lvl="0"/>
            <a:r>
              <a:rPr lang="en-US"/>
              <a:t>Click to add content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BF28F63-F431-6D41-BE9C-138D3AF04AD5}"/>
              </a:ext>
            </a:extLst>
          </p:cNvPr>
          <p:cNvCxnSpPr>
            <a:cxnSpLocks/>
          </p:cNvCxnSpPr>
          <p:nvPr userDrawn="1"/>
        </p:nvCxnSpPr>
        <p:spPr>
          <a:xfrm>
            <a:off x="838199" y="6288108"/>
            <a:ext cx="10515599" cy="0"/>
          </a:xfrm>
          <a:prstGeom prst="line">
            <a:avLst/>
          </a:prstGeom>
          <a:ln w="19050">
            <a:solidFill>
              <a:srgbClr val="1919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>
            <a:extLst>
              <a:ext uri="{FF2B5EF4-FFF2-40B4-BE49-F238E27FC236}">
                <a16:creationId xmlns:a16="http://schemas.microsoft.com/office/drawing/2014/main" id="{72B4C8BE-C122-9649-AE59-D9BF2FF9E6DA}"/>
              </a:ext>
            </a:extLst>
          </p:cNvPr>
          <p:cNvGrpSpPr/>
          <p:nvPr userDrawn="1"/>
        </p:nvGrpSpPr>
        <p:grpSpPr>
          <a:xfrm>
            <a:off x="5965074" y="6408183"/>
            <a:ext cx="261852" cy="261455"/>
            <a:chOff x="1830159" y="2890771"/>
            <a:chExt cx="588560" cy="587668"/>
          </a:xfrm>
          <a:solidFill>
            <a:srgbClr val="191919"/>
          </a:solidFill>
        </p:grpSpPr>
        <p:sp>
          <p:nvSpPr>
            <p:cNvPr id="9" name="Rectangle 15">
              <a:extLst>
                <a:ext uri="{FF2B5EF4-FFF2-40B4-BE49-F238E27FC236}">
                  <a16:creationId xmlns:a16="http://schemas.microsoft.com/office/drawing/2014/main" id="{AE92F115-07B1-694D-AF24-3AABE1BE199A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5">
              <a:extLst>
                <a:ext uri="{FF2B5EF4-FFF2-40B4-BE49-F238E27FC236}">
                  <a16:creationId xmlns:a16="http://schemas.microsoft.com/office/drawing/2014/main" id="{427DE706-63FA-4B45-A37B-C759B603470F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073384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Content J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603EAB-C4F9-7346-90A6-DCE49B39A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680400"/>
            <a:ext cx="10515600" cy="590095"/>
          </a:xfrm>
        </p:spPr>
        <p:txBody>
          <a:bodyPr>
            <a:normAutofit/>
          </a:bodyPr>
          <a:lstStyle>
            <a:lvl1pPr>
              <a:defRPr sz="3600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2A7F6F4-6DFA-2641-A4B1-B6C6E7792061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36612" y="2313935"/>
            <a:ext cx="5157787" cy="36407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191919"/>
                </a:solidFill>
              </a:defRPr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7D572D1-AA8E-614F-AC3F-FADBE6919387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158484" y="2313935"/>
            <a:ext cx="5196904" cy="364075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191919"/>
                </a:solidFill>
              </a:defRPr>
            </a:lvl1pPr>
          </a:lstStyle>
          <a:p>
            <a:pPr lvl="0"/>
            <a:r>
              <a:rPr lang="en-US"/>
              <a:t>Click to add content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0D9C40B-3CF0-1042-A4DA-ABBAF4C195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/>
          <a:lstStyle>
            <a:lvl1pPr>
              <a:defRPr cap="all" baseline="0"/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564F3D0-14CF-C240-A50E-C8E94F2FA8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3518A36-D455-7243-AE76-60454834D3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/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5C2B8B0-1344-E74E-9058-7C16E803D94A}"/>
              </a:ext>
            </a:extLst>
          </p:cNvPr>
          <p:cNvCxnSpPr>
            <a:cxnSpLocks/>
          </p:cNvCxnSpPr>
          <p:nvPr userDrawn="1"/>
        </p:nvCxnSpPr>
        <p:spPr>
          <a:xfrm>
            <a:off x="838199" y="6288108"/>
            <a:ext cx="10515599" cy="0"/>
          </a:xfrm>
          <a:prstGeom prst="line">
            <a:avLst/>
          </a:prstGeom>
          <a:ln w="19050">
            <a:solidFill>
              <a:srgbClr val="1919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565CF96-61E2-AC4E-B9A9-002876157BC2}"/>
              </a:ext>
            </a:extLst>
          </p:cNvPr>
          <p:cNvGrpSpPr/>
          <p:nvPr userDrawn="1"/>
        </p:nvGrpSpPr>
        <p:grpSpPr>
          <a:xfrm>
            <a:off x="5965074" y="6408183"/>
            <a:ext cx="261852" cy="261455"/>
            <a:chOff x="1830159" y="2890771"/>
            <a:chExt cx="588560" cy="587668"/>
          </a:xfrm>
          <a:solidFill>
            <a:srgbClr val="191919"/>
          </a:solidFill>
        </p:grpSpPr>
        <p:sp>
          <p:nvSpPr>
            <p:cNvPr id="13" name="Rectangle 15">
              <a:extLst>
                <a:ext uri="{FF2B5EF4-FFF2-40B4-BE49-F238E27FC236}">
                  <a16:creationId xmlns:a16="http://schemas.microsoft.com/office/drawing/2014/main" id="{43A628BE-4CAC-9949-824C-176E1794E538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5">
              <a:extLst>
                <a:ext uri="{FF2B5EF4-FFF2-40B4-BE49-F238E27FC236}">
                  <a16:creationId xmlns:a16="http://schemas.microsoft.com/office/drawing/2014/main" id="{C2AAD568-99F4-BF4F-A342-5F500B99F98A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51AA0305-1BC3-43BB-91B3-6FBC95493946}"/>
              </a:ext>
            </a:extLst>
          </p:cNvPr>
          <p:cNvSpPr>
            <a:spLocks noGrp="1"/>
          </p:cNvSpPr>
          <p:nvPr>
            <p:ph type="body" sz="half" idx="20" hasCustomPrompt="1"/>
          </p:nvPr>
        </p:nvSpPr>
        <p:spPr>
          <a:xfrm>
            <a:off x="823912" y="1592105"/>
            <a:ext cx="5170487" cy="653590"/>
          </a:xfrm>
        </p:spPr>
        <p:txBody>
          <a:bodyPr anchor="ctr">
            <a:noAutofit/>
          </a:bodyPr>
          <a:lstStyle>
            <a:lvl1pPr marL="0" indent="0" algn="l">
              <a:buNone/>
              <a:defRPr sz="20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B119405-AAF2-48E6-9E8E-B17C47696100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6158484" y="1592105"/>
            <a:ext cx="5195314" cy="653590"/>
          </a:xfrm>
        </p:spPr>
        <p:txBody>
          <a:bodyPr anchor="ctr">
            <a:noAutofit/>
          </a:bodyPr>
          <a:lstStyle>
            <a:lvl1pPr marL="0" indent="0" algn="l">
              <a:buNone/>
              <a:defRPr sz="2000" b="1" cap="all" baseline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58551432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Content 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7E86F5F-1E11-484A-A336-4A44B9910B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B83655-DE1E-1447-B3EC-C1C6B5B477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10C26C-3B29-6040-B88B-2CB45B896D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/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84D4A84-1CFC-254C-9006-C36EAFEAD6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986400"/>
            <a:ext cx="3932237" cy="1900631"/>
          </a:xfrm>
        </p:spPr>
        <p:txBody>
          <a:bodyPr anchor="b">
            <a:normAutofit/>
          </a:bodyPr>
          <a:lstStyle>
            <a:lvl1pPr>
              <a:defRPr sz="3600"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5B2E73E-54C6-C047-A720-284C3C34B286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3069127"/>
            <a:ext cx="3932237" cy="287087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191919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D1C37C7-45F8-384D-9DB2-004865F99D37}"/>
              </a:ext>
            </a:extLst>
          </p:cNvPr>
          <p:cNvCxnSpPr>
            <a:cxnSpLocks/>
          </p:cNvCxnSpPr>
          <p:nvPr userDrawn="1"/>
        </p:nvCxnSpPr>
        <p:spPr>
          <a:xfrm>
            <a:off x="838199" y="6288108"/>
            <a:ext cx="10515599" cy="0"/>
          </a:xfrm>
          <a:prstGeom prst="line">
            <a:avLst/>
          </a:prstGeom>
          <a:ln w="19050">
            <a:solidFill>
              <a:srgbClr val="1919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FB3509D-667A-2745-8AEF-62FF86AC55F7}"/>
              </a:ext>
            </a:extLst>
          </p:cNvPr>
          <p:cNvGrpSpPr/>
          <p:nvPr userDrawn="1"/>
        </p:nvGrpSpPr>
        <p:grpSpPr>
          <a:xfrm>
            <a:off x="5965074" y="6408183"/>
            <a:ext cx="261852" cy="261455"/>
            <a:chOff x="1830159" y="2890771"/>
            <a:chExt cx="588560" cy="587668"/>
          </a:xfrm>
          <a:solidFill>
            <a:srgbClr val="191919"/>
          </a:solidFill>
        </p:grpSpPr>
        <p:sp>
          <p:nvSpPr>
            <p:cNvPr id="12" name="Rectangle 15">
              <a:extLst>
                <a:ext uri="{FF2B5EF4-FFF2-40B4-BE49-F238E27FC236}">
                  <a16:creationId xmlns:a16="http://schemas.microsoft.com/office/drawing/2014/main" id="{7A17FE84-4176-2249-A4B6-797A0FB3115E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5">
              <a:extLst>
                <a:ext uri="{FF2B5EF4-FFF2-40B4-BE49-F238E27FC236}">
                  <a16:creationId xmlns:a16="http://schemas.microsoft.com/office/drawing/2014/main" id="{266B1695-D37F-8C40-83C6-9FCBB76C540C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00630821-5B32-4D4C-A3D0-78F083DC182D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5181600" y="987424"/>
            <a:ext cx="6170612" cy="495257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add content</a:t>
            </a:r>
          </a:p>
        </p:txBody>
      </p:sp>
    </p:spTree>
    <p:extLst>
      <p:ext uri="{BB962C8B-B14F-4D97-AF65-F5344CB8AC3E}">
        <p14:creationId xmlns:p14="http://schemas.microsoft.com/office/powerpoint/2010/main" val="18508645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Content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84374DC-9C2A-8E44-A02D-5C67AD837D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/>
          <a:lstStyle>
            <a:lvl1pPr>
              <a:defRPr cap="all" baseline="0"/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30084C3-772A-C546-9787-9D20DB6481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A05BA5-3E29-6E4C-852F-7C871E371F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/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C4927CB-94CB-6A4D-BF4B-337053FBADAC}"/>
              </a:ext>
            </a:extLst>
          </p:cNvPr>
          <p:cNvCxnSpPr>
            <a:cxnSpLocks/>
          </p:cNvCxnSpPr>
          <p:nvPr userDrawn="1"/>
        </p:nvCxnSpPr>
        <p:spPr>
          <a:xfrm>
            <a:off x="838199" y="6288108"/>
            <a:ext cx="10515599" cy="0"/>
          </a:xfrm>
          <a:prstGeom prst="line">
            <a:avLst/>
          </a:prstGeom>
          <a:ln w="19050">
            <a:solidFill>
              <a:srgbClr val="1919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 6">
            <a:extLst>
              <a:ext uri="{FF2B5EF4-FFF2-40B4-BE49-F238E27FC236}">
                <a16:creationId xmlns:a16="http://schemas.microsoft.com/office/drawing/2014/main" id="{05B7B33C-D469-424F-8093-EF738B591FB7}"/>
              </a:ext>
            </a:extLst>
          </p:cNvPr>
          <p:cNvGrpSpPr/>
          <p:nvPr userDrawn="1"/>
        </p:nvGrpSpPr>
        <p:grpSpPr>
          <a:xfrm>
            <a:off x="5965074" y="6408183"/>
            <a:ext cx="261852" cy="261455"/>
            <a:chOff x="1830159" y="2890771"/>
            <a:chExt cx="588560" cy="587668"/>
          </a:xfrm>
          <a:solidFill>
            <a:srgbClr val="191919"/>
          </a:solidFill>
        </p:grpSpPr>
        <p:sp>
          <p:nvSpPr>
            <p:cNvPr id="8" name="Rectangle 15">
              <a:extLst>
                <a:ext uri="{FF2B5EF4-FFF2-40B4-BE49-F238E27FC236}">
                  <a16:creationId xmlns:a16="http://schemas.microsoft.com/office/drawing/2014/main" id="{4DCAE7DB-9FCA-2349-AEBB-B90E565040E9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15">
              <a:extLst>
                <a:ext uri="{FF2B5EF4-FFF2-40B4-BE49-F238E27FC236}">
                  <a16:creationId xmlns:a16="http://schemas.microsoft.com/office/drawing/2014/main" id="{70730031-D058-524B-A373-D9433FEAA7C6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C450254B-F8E6-492A-9A2A-3B794F3E23E7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36613" y="987424"/>
            <a:ext cx="10515599" cy="495257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add content</a:t>
            </a:r>
          </a:p>
        </p:txBody>
      </p:sp>
    </p:spTree>
    <p:extLst>
      <p:ext uri="{BB962C8B-B14F-4D97-AF65-F5344CB8AC3E}">
        <p14:creationId xmlns:p14="http://schemas.microsoft.com/office/powerpoint/2010/main" val="333840975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d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F1270F4-1F7F-4912-B859-78F38AB148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90482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F1270F4-1F7F-4912-B859-78F38AB148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B2011CEB-4F0C-AE44-B2B2-B359CB8975A5}"/>
              </a:ext>
            </a:extLst>
          </p:cNvPr>
          <p:cNvSpPr/>
          <p:nvPr userDrawn="1"/>
        </p:nvSpPr>
        <p:spPr>
          <a:xfrm>
            <a:off x="1" y="3429000"/>
            <a:ext cx="3048001" cy="34528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47F8F44-3769-D14D-A757-EA2727F4AA3E}"/>
              </a:ext>
            </a:extLst>
          </p:cNvPr>
          <p:cNvSpPr/>
          <p:nvPr userDrawn="1"/>
        </p:nvSpPr>
        <p:spPr>
          <a:xfrm>
            <a:off x="3048003" y="3429000"/>
            <a:ext cx="3048001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464C9B6-B5E2-FB4F-8B63-D7144458B19E}"/>
              </a:ext>
            </a:extLst>
          </p:cNvPr>
          <p:cNvSpPr/>
          <p:nvPr userDrawn="1"/>
        </p:nvSpPr>
        <p:spPr>
          <a:xfrm>
            <a:off x="9143999" y="0"/>
            <a:ext cx="3048001" cy="3429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4C77D9E-C9D2-8B4E-A88F-C33C414DD3A3}"/>
              </a:ext>
            </a:extLst>
          </p:cNvPr>
          <p:cNvSpPr/>
          <p:nvPr userDrawn="1"/>
        </p:nvSpPr>
        <p:spPr>
          <a:xfrm>
            <a:off x="6096000" y="0"/>
            <a:ext cx="3048001" cy="3429000"/>
          </a:xfrm>
          <a:prstGeom prst="rect">
            <a:avLst/>
          </a:prstGeom>
          <a:solidFill>
            <a:srgbClr val="0023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E7286593-98E7-3C49-9719-1C9254C0EB6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3429000"/>
            <a:ext cx="6096000" cy="3429000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B41BD39-6B4C-1B43-A698-FFB5AF7609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262331"/>
            <a:ext cx="4721457" cy="1793647"/>
          </a:xfrm>
        </p:spPr>
        <p:txBody>
          <a:bodyPr vert="horz" lIns="0" anchor="ctr">
            <a:normAutofit/>
          </a:bodyPr>
          <a:lstStyle>
            <a:lvl1pPr>
              <a:defRPr sz="3600" b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5197D6-0424-E841-8E7C-5CE7BCB142C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49" y="613746"/>
            <a:ext cx="4721457" cy="422477"/>
          </a:xfrm>
          <a:ln>
            <a:noFill/>
          </a:ln>
        </p:spPr>
        <p:txBody>
          <a:bodyPr lIns="0" anchor="t">
            <a:normAutofit/>
          </a:bodyPr>
          <a:lstStyle>
            <a:lvl1pPr marL="0" indent="0">
              <a:buNone/>
              <a:defRPr sz="1800" b="1" cap="all" baseline="0">
                <a:solidFill>
                  <a:srgbClr val="191919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868D98-9614-6F4D-9879-BC271C28C5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9" y="226219"/>
            <a:ext cx="4721457" cy="365125"/>
          </a:xfrm>
        </p:spPr>
        <p:txBody>
          <a:bodyPr lIns="0"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6A226-FB73-094F-8B9B-9EE2B6DCCC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3C29C-B29B-5046-9203-657F307C8DD3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DC2EE4A1-602B-46FD-A457-090BF04B35E3}"/>
              </a:ext>
            </a:extLst>
          </p:cNvPr>
          <p:cNvSpPr txBox="1">
            <a:spLocks/>
          </p:cNvSpPr>
          <p:nvPr userDrawn="1"/>
        </p:nvSpPr>
        <p:spPr>
          <a:xfrm>
            <a:off x="10834602" y="6354160"/>
            <a:ext cx="519195" cy="365125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b="1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F33C29C-B29B-5046-9203-657F307C8DD3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>
              <a:solidFill>
                <a:schemeClr val="bg1"/>
              </a:solidFill>
            </a:endParaRPr>
          </a:p>
        </p:txBody>
      </p:sp>
      <p:pic>
        <p:nvPicPr>
          <p:cNvPr id="10" name="Picture 9" descr="Background pattern&#10;&#10;Description automatically generated">
            <a:extLst>
              <a:ext uri="{FF2B5EF4-FFF2-40B4-BE49-F238E27FC236}">
                <a16:creationId xmlns:a16="http://schemas.microsoft.com/office/drawing/2014/main" id="{83B381DC-AB9A-415B-9D82-1A964418E0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alphaModFix amt="25000"/>
          </a:blip>
          <a:srcRect l="27235" t="1139" r="10927" b="1139"/>
          <a:stretch/>
        </p:blipFill>
        <p:spPr>
          <a:xfrm rot="5400000">
            <a:off x="8953497" y="190501"/>
            <a:ext cx="3429001" cy="30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07556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d 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5FE3EA0-EBC6-4BA0-B331-A58F36C6E5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35781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5FE3EA0-EBC6-4BA0-B331-A58F36C6E5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B4C77D9E-C9D2-8B4E-A88F-C33C414DD3A3}"/>
              </a:ext>
            </a:extLst>
          </p:cNvPr>
          <p:cNvSpPr/>
          <p:nvPr userDrawn="1"/>
        </p:nvSpPr>
        <p:spPr>
          <a:xfrm>
            <a:off x="6096000" y="0"/>
            <a:ext cx="6096000" cy="3429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16B503D-F33B-4206-BF2C-032878548F94}"/>
              </a:ext>
            </a:extLst>
          </p:cNvPr>
          <p:cNvSpPr/>
          <p:nvPr userDrawn="1"/>
        </p:nvSpPr>
        <p:spPr>
          <a:xfrm>
            <a:off x="6095997" y="3429000"/>
            <a:ext cx="6096007" cy="3429000"/>
          </a:xfrm>
          <a:prstGeom prst="rect">
            <a:avLst/>
          </a:prstGeom>
          <a:solidFill>
            <a:schemeClr val="tx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E7286593-98E7-3C49-9719-1C9254C0EB6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429000"/>
            <a:ext cx="6096000" cy="3429000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B41BD39-6B4C-1B43-A698-FFB5AF7609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058625"/>
            <a:ext cx="4721457" cy="1997353"/>
          </a:xfrm>
        </p:spPr>
        <p:txBody>
          <a:bodyPr vert="horz" lIns="0" anchor="ctr">
            <a:normAutofit/>
          </a:bodyPr>
          <a:lstStyle>
            <a:lvl1pPr>
              <a:defRPr sz="3600" b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5197D6-0424-E841-8E7C-5CE7BCB142C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49" y="613746"/>
            <a:ext cx="4721457" cy="422477"/>
          </a:xfrm>
          <a:ln>
            <a:noFill/>
          </a:ln>
        </p:spPr>
        <p:txBody>
          <a:bodyPr lIns="0" anchor="t">
            <a:normAutofit/>
          </a:bodyPr>
          <a:lstStyle>
            <a:lvl1pPr marL="0" indent="0">
              <a:buNone/>
              <a:defRPr sz="1800" b="1" cap="all" baseline="0">
                <a:solidFill>
                  <a:srgbClr val="191919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1DDD94-83AE-854D-AA85-D405490CA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868D98-9614-6F4D-9879-BC271C28C5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9" y="226219"/>
            <a:ext cx="4721457" cy="365125"/>
          </a:xfrm>
        </p:spPr>
        <p:txBody>
          <a:bodyPr lIns="0"/>
          <a:lstStyle/>
          <a:p>
            <a:endParaRPr lang="en-US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DC2EE4A1-602B-46FD-A457-090BF04B35E3}"/>
              </a:ext>
            </a:extLst>
          </p:cNvPr>
          <p:cNvSpPr txBox="1">
            <a:spLocks/>
          </p:cNvSpPr>
          <p:nvPr userDrawn="1"/>
        </p:nvSpPr>
        <p:spPr>
          <a:xfrm>
            <a:off x="10834602" y="6354160"/>
            <a:ext cx="519195" cy="365125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b="1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F33C29C-B29B-5046-9203-657F307C8DD3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36508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d 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6E5923D-5C18-4EC1-8E25-68DE51A541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61958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6E5923D-5C18-4EC1-8E25-68DE51A541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B4C77D9E-C9D2-8B4E-A88F-C33C414DD3A3}"/>
              </a:ext>
            </a:extLst>
          </p:cNvPr>
          <p:cNvSpPr/>
          <p:nvPr userDrawn="1"/>
        </p:nvSpPr>
        <p:spPr>
          <a:xfrm>
            <a:off x="4" y="3429000"/>
            <a:ext cx="6096000" cy="345286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730434C-743F-4A0E-9680-9F5887EAB5E5}"/>
              </a:ext>
            </a:extLst>
          </p:cNvPr>
          <p:cNvSpPr/>
          <p:nvPr userDrawn="1"/>
        </p:nvSpPr>
        <p:spPr>
          <a:xfrm>
            <a:off x="6096004" y="3429000"/>
            <a:ext cx="6095992" cy="3452866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B41BD39-6B4C-1B43-A698-FFB5AF7609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058625"/>
            <a:ext cx="4721457" cy="1997353"/>
          </a:xfrm>
        </p:spPr>
        <p:txBody>
          <a:bodyPr vert="horz" lIns="0" anchor="ctr">
            <a:normAutofit/>
          </a:bodyPr>
          <a:lstStyle>
            <a:lvl1pPr>
              <a:defRPr sz="3600" b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5197D6-0424-E841-8E7C-5CE7BCB142C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49" y="613746"/>
            <a:ext cx="4721457" cy="422477"/>
          </a:xfrm>
          <a:ln>
            <a:noFill/>
          </a:ln>
        </p:spPr>
        <p:txBody>
          <a:bodyPr lIns="0" anchor="t">
            <a:normAutofit/>
          </a:bodyPr>
          <a:lstStyle>
            <a:lvl1pPr marL="0" indent="0">
              <a:buNone/>
              <a:defRPr sz="1800" b="1" cap="all" baseline="0">
                <a:solidFill>
                  <a:srgbClr val="191919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868D98-9614-6F4D-9879-BC271C28C5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9" y="226219"/>
            <a:ext cx="4721457" cy="365125"/>
          </a:xfrm>
        </p:spPr>
        <p:txBody>
          <a:bodyPr lIns="0"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6A226-FB73-094F-8B9B-9EE2B6DCCC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1B406802-D883-495C-B152-A51B3FE9B3F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5996" y="0"/>
            <a:ext cx="6096000" cy="3429000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245EBD96-C8EB-4BD7-AEFC-1ABE40643C8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 lIns="0"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ompany Confidential –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238059422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d 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7D962CD-40F6-4B10-B1F6-149339A44A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1295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7D962CD-40F6-4B10-B1F6-149339A44A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>
            <a:extLst>
              <a:ext uri="{FF2B5EF4-FFF2-40B4-BE49-F238E27FC236}">
                <a16:creationId xmlns:a16="http://schemas.microsoft.com/office/drawing/2014/main" id="{C210B4E0-3A7F-41AE-878B-3F0655664266}"/>
              </a:ext>
            </a:extLst>
          </p:cNvPr>
          <p:cNvSpPr/>
          <p:nvPr userDrawn="1"/>
        </p:nvSpPr>
        <p:spPr>
          <a:xfrm>
            <a:off x="6096004" y="3429000"/>
            <a:ext cx="6096003" cy="345286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Background pattern&#10;&#10;Description automatically generated">
            <a:extLst>
              <a:ext uri="{FF2B5EF4-FFF2-40B4-BE49-F238E27FC236}">
                <a16:creationId xmlns:a16="http://schemas.microsoft.com/office/drawing/2014/main" id="{873AC435-61AB-48E4-AB89-453E86A4872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20000"/>
          </a:blip>
          <a:stretch>
            <a:fillRect/>
          </a:stretch>
        </p:blipFill>
        <p:spPr>
          <a:xfrm>
            <a:off x="6102350" y="3438144"/>
            <a:ext cx="6089650" cy="3425429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B4C77D9E-C9D2-8B4E-A88F-C33C414DD3A3}"/>
              </a:ext>
            </a:extLst>
          </p:cNvPr>
          <p:cNvSpPr/>
          <p:nvPr userDrawn="1"/>
        </p:nvSpPr>
        <p:spPr>
          <a:xfrm>
            <a:off x="4" y="3429000"/>
            <a:ext cx="6096000" cy="345286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1B406802-D883-495C-B152-A51B3FE9B3F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" y="0"/>
            <a:ext cx="6095993" cy="3429000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6CE9629E-05E1-4DE9-8CDC-4A8A919816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32341" y="1058625"/>
            <a:ext cx="4721457" cy="1997353"/>
          </a:xfrm>
        </p:spPr>
        <p:txBody>
          <a:bodyPr vert="horz" lIns="0" anchor="ctr">
            <a:normAutofit/>
          </a:bodyPr>
          <a:lstStyle>
            <a:lvl1pPr>
              <a:defRPr sz="3600" b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D4A8D81-784C-48C7-A68D-DE09DEED69F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632340" y="613746"/>
            <a:ext cx="4721457" cy="422477"/>
          </a:xfrm>
          <a:ln>
            <a:noFill/>
          </a:ln>
        </p:spPr>
        <p:txBody>
          <a:bodyPr lIns="0" anchor="t">
            <a:normAutofit/>
          </a:bodyPr>
          <a:lstStyle>
            <a:lvl1pPr marL="0" indent="0">
              <a:buNone/>
              <a:defRPr sz="1800" b="1" cap="all" baseline="0">
                <a:solidFill>
                  <a:srgbClr val="191919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68848F88-B775-402E-8EAD-50E0407D9A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38690" y="226219"/>
            <a:ext cx="4721457" cy="365125"/>
          </a:xfrm>
        </p:spPr>
        <p:txBody>
          <a:bodyPr lIns="0"/>
          <a:lstStyle/>
          <a:p>
            <a:endParaRPr lang="en-US"/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75B09A29-F59B-4074-A7D6-0D12009DB3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05056" y="6365182"/>
            <a:ext cx="51919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0FC09B82-737C-47D2-BF41-2003982EB56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 lIns="0"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ompany Confidential –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1557811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fety Moment D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E83C5F7-A1F1-4C39-A31A-E63124A3F6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38421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E83C5F7-A1F1-4C39-A31A-E63124A3F6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4BFF03A9-7189-E044-9CB2-35F611FB8AC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4320000"/>
            <a:ext cx="12192000" cy="2568016"/>
          </a:xfrm>
          <a:pattFill prst="pct5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7E86F5F-1E11-484A-A336-4A44B9910B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B83655-DE1E-1447-B3EC-C1C6B5B477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10C26C-3B29-6040-B88B-2CB45B896D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5F696F00-260B-A44D-9082-F990F81D56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272485"/>
            <a:ext cx="10515600" cy="583740"/>
          </a:xfrm>
        </p:spPr>
        <p:txBody>
          <a:bodyPr vert="horz">
            <a:noAutofit/>
          </a:bodyPr>
          <a:lstStyle>
            <a:lvl1pPr>
              <a:defRPr sz="3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88C8A7A1-3ADB-46A3-808D-FC13B78ACE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5346" y="1994626"/>
            <a:ext cx="3359941" cy="2024926"/>
          </a:xfrm>
        </p:spPr>
        <p:txBody>
          <a:bodyPr l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E2E51ADD-C3F3-4A2C-9C11-EB716DAB3E9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07802" y="1991142"/>
            <a:ext cx="3390908" cy="2012315"/>
          </a:xfrm>
        </p:spPr>
        <p:txBody>
          <a:bodyPr l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7F08864C-0895-4BBE-AB75-2B96FB47E63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993846" y="1991142"/>
            <a:ext cx="3381636" cy="2012315"/>
          </a:xfrm>
        </p:spPr>
        <p:txBody>
          <a:bodyPr l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800"/>
            </a:lvl2pPr>
            <a:lvl3pPr>
              <a:lnSpc>
                <a:spcPct val="100000"/>
              </a:lnSpc>
              <a:defRPr sz="1800"/>
            </a:lvl3pPr>
            <a:lvl4pPr>
              <a:lnSpc>
                <a:spcPct val="100000"/>
              </a:lnSpc>
              <a:defRPr sz="1800"/>
            </a:lvl4pPr>
            <a:lvl5pPr>
              <a:lnSpc>
                <a:spcPct val="100000"/>
              </a:lnSpc>
              <a:defRPr sz="1800"/>
            </a:lvl5pPr>
          </a:lstStyle>
          <a:p>
            <a:pPr lvl="0"/>
            <a:r>
              <a:rPr lang="en-US"/>
              <a:t>Click to add text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CFDC8EA-DAD3-40C5-9FEC-7DFF8F1ADF5A}"/>
              </a:ext>
            </a:extLst>
          </p:cNvPr>
          <p:cNvGrpSpPr/>
          <p:nvPr userDrawn="1"/>
        </p:nvGrpSpPr>
        <p:grpSpPr>
          <a:xfrm>
            <a:off x="5965074" y="6408183"/>
            <a:ext cx="261852" cy="261455"/>
            <a:chOff x="1830159" y="2890771"/>
            <a:chExt cx="588560" cy="587668"/>
          </a:xfrm>
          <a:solidFill>
            <a:schemeClr val="bg1"/>
          </a:solidFill>
        </p:grpSpPr>
        <p:sp>
          <p:nvSpPr>
            <p:cNvPr id="17" name="Rectangle 15">
              <a:extLst>
                <a:ext uri="{FF2B5EF4-FFF2-40B4-BE49-F238E27FC236}">
                  <a16:creationId xmlns:a16="http://schemas.microsoft.com/office/drawing/2014/main" id="{B26C857D-A205-4B02-863B-50B5A751D609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5">
              <a:extLst>
                <a:ext uri="{FF2B5EF4-FFF2-40B4-BE49-F238E27FC236}">
                  <a16:creationId xmlns:a16="http://schemas.microsoft.com/office/drawing/2014/main" id="{6DCBDE9A-DD07-4CE9-9335-C09858068495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87EB771D-6E0C-47D1-AD53-8AF68D3528C7}"/>
              </a:ext>
            </a:extLst>
          </p:cNvPr>
          <p:cNvSpPr/>
          <p:nvPr userDrawn="1"/>
        </p:nvSpPr>
        <p:spPr>
          <a:xfrm>
            <a:off x="831060" y="4019553"/>
            <a:ext cx="3390896" cy="53977"/>
          </a:xfrm>
          <a:prstGeom prst="rect">
            <a:avLst/>
          </a:prstGeom>
          <a:solidFill>
            <a:srgbClr val="C1F5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57E2912-48F0-4EBD-9CC1-FB9FD1C4E69D}"/>
              </a:ext>
            </a:extLst>
          </p:cNvPr>
          <p:cNvSpPr/>
          <p:nvPr userDrawn="1"/>
        </p:nvSpPr>
        <p:spPr>
          <a:xfrm>
            <a:off x="4407802" y="4010938"/>
            <a:ext cx="3390908" cy="62591"/>
          </a:xfrm>
          <a:prstGeom prst="rect">
            <a:avLst/>
          </a:prstGeom>
          <a:solidFill>
            <a:srgbClr val="C1F5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1D7DE77-5A4F-4F54-9A59-42673CD0BA71}"/>
              </a:ext>
            </a:extLst>
          </p:cNvPr>
          <p:cNvSpPr/>
          <p:nvPr userDrawn="1"/>
        </p:nvSpPr>
        <p:spPr>
          <a:xfrm>
            <a:off x="7984574" y="4010938"/>
            <a:ext cx="3390908" cy="62591"/>
          </a:xfrm>
          <a:prstGeom prst="rect">
            <a:avLst/>
          </a:prstGeom>
          <a:solidFill>
            <a:srgbClr val="C1F5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5" name="Graphic 5">
            <a:extLst>
              <a:ext uri="{FF2B5EF4-FFF2-40B4-BE49-F238E27FC236}">
                <a16:creationId xmlns:a16="http://schemas.microsoft.com/office/drawing/2014/main" id="{390EEF8B-BED1-4510-8587-7D4D564BCCD0}"/>
              </a:ext>
            </a:extLst>
          </p:cNvPr>
          <p:cNvGrpSpPr/>
          <p:nvPr userDrawn="1"/>
        </p:nvGrpSpPr>
        <p:grpSpPr>
          <a:xfrm>
            <a:off x="845346" y="804895"/>
            <a:ext cx="390078" cy="389977"/>
            <a:chOff x="2667000" y="-9"/>
            <a:chExt cx="6857419" cy="6855633"/>
          </a:xfrm>
          <a:solidFill>
            <a:srgbClr val="C1F50E"/>
          </a:solidFill>
        </p:grpSpPr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5D0F00D4-9C5C-461D-8417-E4C958C33597}"/>
                </a:ext>
              </a:extLst>
            </p:cNvPr>
            <p:cNvSpPr/>
            <p:nvPr/>
          </p:nvSpPr>
          <p:spPr>
            <a:xfrm>
              <a:off x="6101482" y="-9"/>
              <a:ext cx="3422936" cy="6546219"/>
            </a:xfrm>
            <a:custGeom>
              <a:avLst/>
              <a:gdLst>
                <a:gd name="connsiteX0" fmla="*/ 2937797 w 3422936"/>
                <a:gd name="connsiteY0" fmla="*/ 3428139 h 6546219"/>
                <a:gd name="connsiteX1" fmla="*/ 1165167 w 3422936"/>
                <a:gd name="connsiteY1" fmla="*/ 6128594 h 6546219"/>
                <a:gd name="connsiteX2" fmla="*/ 1123801 w 3422936"/>
                <a:gd name="connsiteY2" fmla="*/ 6324755 h 6546219"/>
                <a:gd name="connsiteX3" fmla="*/ 1304794 w 3422936"/>
                <a:gd name="connsiteY3" fmla="*/ 6509231 h 6546219"/>
                <a:gd name="connsiteX4" fmla="*/ 1443334 w 3422936"/>
                <a:gd name="connsiteY4" fmla="*/ 6535067 h 6546219"/>
                <a:gd name="connsiteX5" fmla="*/ 3422937 w 3422936"/>
                <a:gd name="connsiteY5" fmla="*/ 3428139 h 6546219"/>
                <a:gd name="connsiteX6" fmla="*/ 55405 w 3422936"/>
                <a:gd name="connsiteY6" fmla="*/ 9 h 6546219"/>
                <a:gd name="connsiteX7" fmla="*/ 15418 w 3422936"/>
                <a:gd name="connsiteY7" fmla="*/ 92901 h 6546219"/>
                <a:gd name="connsiteX8" fmla="*/ 373268 w 3422936"/>
                <a:gd name="connsiteY8" fmla="*/ 457718 h 6546219"/>
                <a:gd name="connsiteX9" fmla="*/ 513911 w 3422936"/>
                <a:gd name="connsiteY9" fmla="*/ 530652 h 6546219"/>
                <a:gd name="connsiteX10" fmla="*/ 2937870 w 3422936"/>
                <a:gd name="connsiteY10" fmla="*/ 3428211 h 6546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22936" h="6546219">
                  <a:moveTo>
                    <a:pt x="2937797" y="3428139"/>
                  </a:moveTo>
                  <a:cubicBezTo>
                    <a:pt x="2937797" y="4635292"/>
                    <a:pt x="2207293" y="5675023"/>
                    <a:pt x="1165167" y="6128594"/>
                  </a:cubicBezTo>
                  <a:cubicBezTo>
                    <a:pt x="1086209" y="6162993"/>
                    <a:pt x="1063494" y="6263287"/>
                    <a:pt x="1123801" y="6324755"/>
                  </a:cubicBezTo>
                  <a:lnTo>
                    <a:pt x="1304794" y="6509231"/>
                  </a:lnTo>
                  <a:cubicBezTo>
                    <a:pt x="1340790" y="6545953"/>
                    <a:pt x="1396742" y="6556838"/>
                    <a:pt x="1443334" y="6535067"/>
                  </a:cubicBezTo>
                  <a:cubicBezTo>
                    <a:pt x="2611661" y="5988023"/>
                    <a:pt x="3422937" y="4801118"/>
                    <a:pt x="3422937" y="3428139"/>
                  </a:cubicBezTo>
                  <a:cubicBezTo>
                    <a:pt x="3422864" y="1558046"/>
                    <a:pt x="1917878" y="32739"/>
                    <a:pt x="55405" y="9"/>
                  </a:cubicBezTo>
                  <a:cubicBezTo>
                    <a:pt x="7217" y="-861"/>
                    <a:pt x="-18400" y="58429"/>
                    <a:pt x="15418" y="92901"/>
                  </a:cubicBezTo>
                  <a:cubicBezTo>
                    <a:pt x="146555" y="226577"/>
                    <a:pt x="373268" y="457718"/>
                    <a:pt x="373268" y="457718"/>
                  </a:cubicBezTo>
                  <a:cubicBezTo>
                    <a:pt x="411222" y="496325"/>
                    <a:pt x="460571" y="521072"/>
                    <a:pt x="513911" y="530652"/>
                  </a:cubicBezTo>
                  <a:cubicBezTo>
                    <a:pt x="1890011" y="776742"/>
                    <a:pt x="2937870" y="1982371"/>
                    <a:pt x="2937870" y="3428211"/>
                  </a:cubicBezTo>
                  <a:close/>
                </a:path>
              </a:pathLst>
            </a:custGeom>
            <a:grpFill/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C1F50E"/>
                </a:solidFill>
              </a:endParaRPr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5076C0BC-5E30-43FF-B080-DD47F53913EC}"/>
                </a:ext>
              </a:extLst>
            </p:cNvPr>
            <p:cNvSpPr/>
            <p:nvPr/>
          </p:nvSpPr>
          <p:spPr>
            <a:xfrm>
              <a:off x="2667000" y="319009"/>
              <a:ext cx="3394825" cy="6536614"/>
            </a:xfrm>
            <a:custGeom>
              <a:avLst/>
              <a:gdLst>
                <a:gd name="connsiteX0" fmla="*/ 3016069 w 3394825"/>
                <a:gd name="connsiteY0" fmla="*/ 6073373 h 6536614"/>
                <a:gd name="connsiteX1" fmla="*/ 2878255 w 3394825"/>
                <a:gd name="connsiteY1" fmla="*/ 6000946 h 6536614"/>
                <a:gd name="connsiteX2" fmla="*/ 485067 w 3394825"/>
                <a:gd name="connsiteY2" fmla="*/ 3109193 h 6536614"/>
                <a:gd name="connsiteX3" fmla="*/ 2239337 w 3394825"/>
                <a:gd name="connsiteY3" fmla="*/ 416793 h 6536614"/>
                <a:gd name="connsiteX4" fmla="*/ 2279904 w 3394825"/>
                <a:gd name="connsiteY4" fmla="*/ 220995 h 6536614"/>
                <a:gd name="connsiteX5" fmla="*/ 2099274 w 3394825"/>
                <a:gd name="connsiteY5" fmla="*/ 36954 h 6536614"/>
                <a:gd name="connsiteX6" fmla="*/ 1960154 w 3394825"/>
                <a:gd name="connsiteY6" fmla="*/ 11481 h 6536614"/>
                <a:gd name="connsiteX7" fmla="*/ 0 w 3394825"/>
                <a:gd name="connsiteY7" fmla="*/ 3109120 h 6536614"/>
                <a:gd name="connsiteX8" fmla="*/ 3339012 w 3394825"/>
                <a:gd name="connsiteY8" fmla="*/ 6536596 h 6536614"/>
                <a:gd name="connsiteX9" fmla="*/ 3379434 w 3394825"/>
                <a:gd name="connsiteY9" fmla="*/ 6443777 h 6536614"/>
                <a:gd name="connsiteX10" fmla="*/ 3016069 w 3394825"/>
                <a:gd name="connsiteY10" fmla="*/ 6073300 h 6536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394825" h="6536614">
                  <a:moveTo>
                    <a:pt x="3016069" y="6073373"/>
                  </a:moveTo>
                  <a:cubicBezTo>
                    <a:pt x="2978840" y="6035418"/>
                    <a:pt x="2930507" y="6010889"/>
                    <a:pt x="2878255" y="6000946"/>
                  </a:cubicBezTo>
                  <a:cubicBezTo>
                    <a:pt x="1517324" y="5742447"/>
                    <a:pt x="485067" y="4544220"/>
                    <a:pt x="485067" y="3109193"/>
                  </a:cubicBezTo>
                  <a:cubicBezTo>
                    <a:pt x="485067" y="1909079"/>
                    <a:pt x="1207008" y="874573"/>
                    <a:pt x="2239337" y="416793"/>
                  </a:cubicBezTo>
                  <a:cubicBezTo>
                    <a:pt x="2317714" y="382031"/>
                    <a:pt x="2339993" y="282173"/>
                    <a:pt x="2279904" y="220995"/>
                  </a:cubicBezTo>
                  <a:lnTo>
                    <a:pt x="2099274" y="36954"/>
                  </a:lnTo>
                  <a:cubicBezTo>
                    <a:pt x="2063061" y="87"/>
                    <a:pt x="2006818" y="-10726"/>
                    <a:pt x="1960154" y="11481"/>
                  </a:cubicBezTo>
                  <a:cubicBezTo>
                    <a:pt x="802277" y="562443"/>
                    <a:pt x="0" y="1743761"/>
                    <a:pt x="0" y="3109120"/>
                  </a:cubicBezTo>
                  <a:cubicBezTo>
                    <a:pt x="0" y="4969707"/>
                    <a:pt x="1489746" y="6488917"/>
                    <a:pt x="3339012" y="6536596"/>
                  </a:cubicBezTo>
                  <a:cubicBezTo>
                    <a:pt x="3387417" y="6537830"/>
                    <a:pt x="3413325" y="6478394"/>
                    <a:pt x="3379434" y="6443777"/>
                  </a:cubicBezTo>
                  <a:cubicBezTo>
                    <a:pt x="3246483" y="6308141"/>
                    <a:pt x="3016069" y="6073300"/>
                    <a:pt x="3016069" y="6073300"/>
                  </a:cubicBezTo>
                  <a:close/>
                </a:path>
              </a:pathLst>
            </a:custGeom>
            <a:grpFill/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C1F50E"/>
                </a:solidFill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49596BD3-8F45-4677-8946-A0086ABA94A9}"/>
                </a:ext>
              </a:extLst>
            </p:cNvPr>
            <p:cNvSpPr/>
            <p:nvPr/>
          </p:nvSpPr>
          <p:spPr>
            <a:xfrm>
              <a:off x="4402790" y="1412965"/>
              <a:ext cx="3385882" cy="4029673"/>
            </a:xfrm>
            <a:custGeom>
              <a:avLst/>
              <a:gdLst>
                <a:gd name="connsiteX0" fmla="*/ 3385576 w 3385882"/>
                <a:gd name="connsiteY0" fmla="*/ 3774077 h 4029673"/>
                <a:gd name="connsiteX1" fmla="*/ 3385503 w 3385882"/>
                <a:gd name="connsiteY1" fmla="*/ 3421525 h 4029673"/>
                <a:gd name="connsiteX2" fmla="*/ 3320987 w 3385882"/>
                <a:gd name="connsiteY2" fmla="*/ 3247572 h 4029673"/>
                <a:gd name="connsiteX3" fmla="*/ 3140792 w 3385882"/>
                <a:gd name="connsiteY3" fmla="*/ 3176815 h 4029673"/>
                <a:gd name="connsiteX4" fmla="*/ 3061689 w 3385882"/>
                <a:gd name="connsiteY4" fmla="*/ 3176959 h 4029673"/>
                <a:gd name="connsiteX5" fmla="*/ 3053053 w 3385882"/>
                <a:gd name="connsiteY5" fmla="*/ 3176959 h 4029673"/>
                <a:gd name="connsiteX6" fmla="*/ 2938028 w 3385882"/>
                <a:gd name="connsiteY6" fmla="*/ 3177323 h 4029673"/>
                <a:gd name="connsiteX7" fmla="*/ 2502454 w 3385882"/>
                <a:gd name="connsiteY7" fmla="*/ 1904710 h 4029673"/>
                <a:gd name="connsiteX8" fmla="*/ 2364714 w 3385882"/>
                <a:gd name="connsiteY8" fmla="*/ 1503245 h 4029673"/>
                <a:gd name="connsiteX9" fmla="*/ 1906062 w 3385882"/>
                <a:gd name="connsiteY9" fmla="*/ 166842 h 4029673"/>
                <a:gd name="connsiteX10" fmla="*/ 1685227 w 3385882"/>
                <a:gd name="connsiteY10" fmla="*/ 0 h 4029673"/>
                <a:gd name="connsiteX11" fmla="*/ 1681889 w 3385882"/>
                <a:gd name="connsiteY11" fmla="*/ 0 h 4029673"/>
                <a:gd name="connsiteX12" fmla="*/ 1464683 w 3385882"/>
                <a:gd name="connsiteY12" fmla="*/ 167713 h 4029673"/>
                <a:gd name="connsiteX13" fmla="*/ 1347843 w 3385882"/>
                <a:gd name="connsiteY13" fmla="*/ 510758 h 4029673"/>
                <a:gd name="connsiteX14" fmla="*/ 988179 w 3385882"/>
                <a:gd name="connsiteY14" fmla="*/ 1567035 h 4029673"/>
                <a:gd name="connsiteX15" fmla="*/ 985276 w 3385882"/>
                <a:gd name="connsiteY15" fmla="*/ 1575743 h 4029673"/>
                <a:gd name="connsiteX16" fmla="*/ 441135 w 3385882"/>
                <a:gd name="connsiteY16" fmla="*/ 3177032 h 4029673"/>
                <a:gd name="connsiteX17" fmla="*/ 237064 w 3385882"/>
                <a:gd name="connsiteY17" fmla="*/ 3177177 h 4029673"/>
                <a:gd name="connsiteX18" fmla="*/ 264 w 3385882"/>
                <a:gd name="connsiteY18" fmla="*/ 3415067 h 4029673"/>
                <a:gd name="connsiteX19" fmla="*/ 264 w 3385882"/>
                <a:gd name="connsiteY19" fmla="*/ 3478711 h 4029673"/>
                <a:gd name="connsiteX20" fmla="*/ 554 w 3385882"/>
                <a:gd name="connsiteY20" fmla="*/ 3795631 h 4029673"/>
                <a:gd name="connsiteX21" fmla="*/ 130384 w 3385882"/>
                <a:gd name="connsiteY21" fmla="*/ 4002823 h 4029673"/>
                <a:gd name="connsiteX22" fmla="*/ 262755 w 3385882"/>
                <a:gd name="connsiteY22" fmla="*/ 4028658 h 4029673"/>
                <a:gd name="connsiteX23" fmla="*/ 1410834 w 3385882"/>
                <a:gd name="connsiteY23" fmla="*/ 4029456 h 4029673"/>
                <a:gd name="connsiteX24" fmla="*/ 2578799 w 3385882"/>
                <a:gd name="connsiteY24" fmla="*/ 4029456 h 4029673"/>
                <a:gd name="connsiteX25" fmla="*/ 2742520 w 3385882"/>
                <a:gd name="connsiteY25" fmla="*/ 4029311 h 4029673"/>
                <a:gd name="connsiteX26" fmla="*/ 2778443 w 3385882"/>
                <a:gd name="connsiteY26" fmla="*/ 4029311 h 4029673"/>
                <a:gd name="connsiteX27" fmla="*/ 3131213 w 3385882"/>
                <a:gd name="connsiteY27" fmla="*/ 4029674 h 4029673"/>
                <a:gd name="connsiteX28" fmla="*/ 3132664 w 3385882"/>
                <a:gd name="connsiteY28" fmla="*/ 4029674 h 4029673"/>
                <a:gd name="connsiteX29" fmla="*/ 3322511 w 3385882"/>
                <a:gd name="connsiteY29" fmla="*/ 3956667 h 4029673"/>
                <a:gd name="connsiteX30" fmla="*/ 3385576 w 3385882"/>
                <a:gd name="connsiteY30" fmla="*/ 3774005 h 4029673"/>
                <a:gd name="connsiteX31" fmla="*/ 3093113 w 3385882"/>
                <a:gd name="connsiteY31" fmla="*/ 3660793 h 4029673"/>
                <a:gd name="connsiteX32" fmla="*/ 3093113 w 3385882"/>
                <a:gd name="connsiteY32" fmla="*/ 3673203 h 4029673"/>
                <a:gd name="connsiteX33" fmla="*/ 3093258 w 3385882"/>
                <a:gd name="connsiteY33" fmla="*/ 3738372 h 4029673"/>
                <a:gd name="connsiteX34" fmla="*/ 3019235 w 3385882"/>
                <a:gd name="connsiteY34" fmla="*/ 3738372 h 4029673"/>
                <a:gd name="connsiteX35" fmla="*/ 2972935 w 3385882"/>
                <a:gd name="connsiteY35" fmla="*/ 3738372 h 4029673"/>
                <a:gd name="connsiteX36" fmla="*/ 291638 w 3385882"/>
                <a:gd name="connsiteY36" fmla="*/ 3738372 h 4029673"/>
                <a:gd name="connsiteX37" fmla="*/ 291710 w 3385882"/>
                <a:gd name="connsiteY37" fmla="*/ 3569353 h 4029673"/>
                <a:gd name="connsiteX38" fmla="*/ 291710 w 3385882"/>
                <a:gd name="connsiteY38" fmla="*/ 3468334 h 4029673"/>
                <a:gd name="connsiteX39" fmla="*/ 3093476 w 3385882"/>
                <a:gd name="connsiteY39" fmla="*/ 3468334 h 4029673"/>
                <a:gd name="connsiteX40" fmla="*/ 3093113 w 3385882"/>
                <a:gd name="connsiteY40" fmla="*/ 3660866 h 4029673"/>
                <a:gd name="connsiteX41" fmla="*/ 1685808 w 3385882"/>
                <a:gd name="connsiteY41" fmla="*/ 423817 h 4029673"/>
                <a:gd name="connsiteX42" fmla="*/ 1981971 w 3385882"/>
                <a:gd name="connsiteY42" fmla="*/ 1287127 h 4029673"/>
                <a:gd name="connsiteX43" fmla="*/ 1996123 w 3385882"/>
                <a:gd name="connsiteY43" fmla="*/ 1328420 h 4029673"/>
                <a:gd name="connsiteX44" fmla="*/ 1377742 w 3385882"/>
                <a:gd name="connsiteY44" fmla="*/ 1328420 h 4029673"/>
                <a:gd name="connsiteX45" fmla="*/ 1685808 w 3385882"/>
                <a:gd name="connsiteY45" fmla="*/ 423817 h 4029673"/>
                <a:gd name="connsiteX46" fmla="*/ 1074684 w 3385882"/>
                <a:gd name="connsiteY46" fmla="*/ 2217783 h 4029673"/>
                <a:gd name="connsiteX47" fmla="*/ 1133902 w 3385882"/>
                <a:gd name="connsiteY47" fmla="*/ 2043974 h 4029673"/>
                <a:gd name="connsiteX48" fmla="*/ 1277303 w 3385882"/>
                <a:gd name="connsiteY48" fmla="*/ 1620375 h 4029673"/>
                <a:gd name="connsiteX49" fmla="*/ 2097433 w 3385882"/>
                <a:gd name="connsiteY49" fmla="*/ 1620593 h 4029673"/>
                <a:gd name="connsiteX50" fmla="*/ 2280168 w 3385882"/>
                <a:gd name="connsiteY50" fmla="*/ 2155517 h 4029673"/>
                <a:gd name="connsiteX51" fmla="*/ 2308834 w 3385882"/>
                <a:gd name="connsiteY51" fmla="*/ 2238901 h 4029673"/>
                <a:gd name="connsiteX52" fmla="*/ 2323348 w 3385882"/>
                <a:gd name="connsiteY52" fmla="*/ 2281283 h 4029673"/>
                <a:gd name="connsiteX53" fmla="*/ 1052549 w 3385882"/>
                <a:gd name="connsiteY53" fmla="*/ 2283460 h 4029673"/>
                <a:gd name="connsiteX54" fmla="*/ 1074684 w 3385882"/>
                <a:gd name="connsiteY54" fmla="*/ 2217783 h 4029673"/>
                <a:gd name="connsiteX55" fmla="*/ 759070 w 3385882"/>
                <a:gd name="connsiteY55" fmla="*/ 3145826 h 4029673"/>
                <a:gd name="connsiteX56" fmla="*/ 791800 w 3385882"/>
                <a:gd name="connsiteY56" fmla="*/ 3049742 h 4029673"/>
                <a:gd name="connsiteX57" fmla="*/ 799420 w 3385882"/>
                <a:gd name="connsiteY57" fmla="*/ 3027317 h 4029673"/>
                <a:gd name="connsiteX58" fmla="*/ 952256 w 3385882"/>
                <a:gd name="connsiteY58" fmla="*/ 2576939 h 4029673"/>
                <a:gd name="connsiteX59" fmla="*/ 2425601 w 3385882"/>
                <a:gd name="connsiteY59" fmla="*/ 2577084 h 4029673"/>
                <a:gd name="connsiteX60" fmla="*/ 2584387 w 3385882"/>
                <a:gd name="connsiteY60" fmla="*/ 3041759 h 4029673"/>
                <a:gd name="connsiteX61" fmla="*/ 2620745 w 3385882"/>
                <a:gd name="connsiteY61" fmla="*/ 3147713 h 4029673"/>
                <a:gd name="connsiteX62" fmla="*/ 2630180 w 3385882"/>
                <a:gd name="connsiteY62" fmla="*/ 3175218 h 4029673"/>
                <a:gd name="connsiteX63" fmla="*/ 749056 w 3385882"/>
                <a:gd name="connsiteY63" fmla="*/ 3175218 h 4029673"/>
                <a:gd name="connsiteX64" fmla="*/ 759070 w 3385882"/>
                <a:gd name="connsiteY64" fmla="*/ 3145826 h 4029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3385882" h="4029673">
                  <a:moveTo>
                    <a:pt x="3385576" y="3774077"/>
                  </a:moveTo>
                  <a:cubicBezTo>
                    <a:pt x="3380786" y="3664277"/>
                    <a:pt x="3380786" y="3548961"/>
                    <a:pt x="3385503" y="3421525"/>
                  </a:cubicBezTo>
                  <a:cubicBezTo>
                    <a:pt x="3387898" y="3354397"/>
                    <a:pt x="3365038" y="3292638"/>
                    <a:pt x="3320987" y="3247572"/>
                  </a:cubicBezTo>
                  <a:cubicBezTo>
                    <a:pt x="3275267" y="3200836"/>
                    <a:pt x="3211332" y="3175798"/>
                    <a:pt x="3140792" y="3176815"/>
                  </a:cubicBezTo>
                  <a:cubicBezTo>
                    <a:pt x="3114812" y="3177250"/>
                    <a:pt x="3087815" y="3177105"/>
                    <a:pt x="3061689" y="3176959"/>
                  </a:cubicBezTo>
                  <a:lnTo>
                    <a:pt x="3053053" y="3176959"/>
                  </a:lnTo>
                  <a:cubicBezTo>
                    <a:pt x="3012414" y="3176524"/>
                    <a:pt x="2975184" y="3176379"/>
                    <a:pt x="2938028" y="3177323"/>
                  </a:cubicBezTo>
                  <a:cubicBezTo>
                    <a:pt x="2793393" y="2752925"/>
                    <a:pt x="2645492" y="2321851"/>
                    <a:pt x="2502454" y="1904710"/>
                  </a:cubicBezTo>
                  <a:lnTo>
                    <a:pt x="2364714" y="1503245"/>
                  </a:lnTo>
                  <a:cubicBezTo>
                    <a:pt x="2211950" y="1057729"/>
                    <a:pt x="2059115" y="612285"/>
                    <a:pt x="1906062" y="166842"/>
                  </a:cubicBezTo>
                  <a:cubicBezTo>
                    <a:pt x="1868543" y="57694"/>
                    <a:pt x="1792197" y="0"/>
                    <a:pt x="1685227" y="0"/>
                  </a:cubicBezTo>
                  <a:cubicBezTo>
                    <a:pt x="1684138" y="0"/>
                    <a:pt x="1682977" y="0"/>
                    <a:pt x="1681889" y="0"/>
                  </a:cubicBezTo>
                  <a:cubicBezTo>
                    <a:pt x="1576733" y="1161"/>
                    <a:pt x="1501694" y="59146"/>
                    <a:pt x="1464683" y="167713"/>
                  </a:cubicBezTo>
                  <a:lnTo>
                    <a:pt x="1347843" y="510758"/>
                  </a:lnTo>
                  <a:cubicBezTo>
                    <a:pt x="1227955" y="862802"/>
                    <a:pt x="1108066" y="1214846"/>
                    <a:pt x="988179" y="1567035"/>
                  </a:cubicBezTo>
                  <a:lnTo>
                    <a:pt x="985276" y="1575743"/>
                  </a:lnTo>
                  <a:cubicBezTo>
                    <a:pt x="820538" y="2059795"/>
                    <a:pt x="629313" y="2621643"/>
                    <a:pt x="441135" y="3177032"/>
                  </a:cubicBezTo>
                  <a:cubicBezTo>
                    <a:pt x="371757" y="3176016"/>
                    <a:pt x="302306" y="3176524"/>
                    <a:pt x="237064" y="3177177"/>
                  </a:cubicBezTo>
                  <a:cubicBezTo>
                    <a:pt x="100122" y="3178556"/>
                    <a:pt x="481" y="3278632"/>
                    <a:pt x="264" y="3415067"/>
                  </a:cubicBezTo>
                  <a:lnTo>
                    <a:pt x="264" y="3478711"/>
                  </a:lnTo>
                  <a:cubicBezTo>
                    <a:pt x="-27" y="3582126"/>
                    <a:pt x="-244" y="3689096"/>
                    <a:pt x="554" y="3795631"/>
                  </a:cubicBezTo>
                  <a:cubicBezTo>
                    <a:pt x="1207" y="3892079"/>
                    <a:pt x="48524" y="3967553"/>
                    <a:pt x="130384" y="4002823"/>
                  </a:cubicBezTo>
                  <a:cubicBezTo>
                    <a:pt x="179442" y="4024013"/>
                    <a:pt x="229444" y="4028585"/>
                    <a:pt x="262755" y="4028658"/>
                  </a:cubicBezTo>
                  <a:cubicBezTo>
                    <a:pt x="649125" y="4029601"/>
                    <a:pt x="1036366" y="4029529"/>
                    <a:pt x="1410834" y="4029456"/>
                  </a:cubicBezTo>
                  <a:lnTo>
                    <a:pt x="2578799" y="4029456"/>
                  </a:lnTo>
                  <a:cubicBezTo>
                    <a:pt x="2633373" y="4029456"/>
                    <a:pt x="2687947" y="4029384"/>
                    <a:pt x="2742520" y="4029311"/>
                  </a:cubicBezTo>
                  <a:lnTo>
                    <a:pt x="2778443" y="4029311"/>
                  </a:lnTo>
                  <a:cubicBezTo>
                    <a:pt x="2894122" y="4029238"/>
                    <a:pt x="3013720" y="4029166"/>
                    <a:pt x="3131213" y="4029674"/>
                  </a:cubicBezTo>
                  <a:lnTo>
                    <a:pt x="3132664" y="4029674"/>
                  </a:lnTo>
                  <a:cubicBezTo>
                    <a:pt x="3210896" y="4029674"/>
                    <a:pt x="3276501" y="4004419"/>
                    <a:pt x="3322511" y="3956667"/>
                  </a:cubicBezTo>
                  <a:cubicBezTo>
                    <a:pt x="3366998" y="3910439"/>
                    <a:pt x="3388769" y="3847302"/>
                    <a:pt x="3385576" y="3774005"/>
                  </a:cubicBezTo>
                  <a:close/>
                  <a:moveTo>
                    <a:pt x="3093113" y="3660793"/>
                  </a:moveTo>
                  <a:lnTo>
                    <a:pt x="3093113" y="3673203"/>
                  </a:lnTo>
                  <a:cubicBezTo>
                    <a:pt x="3093185" y="3694974"/>
                    <a:pt x="3093185" y="3716673"/>
                    <a:pt x="3093258" y="3738372"/>
                  </a:cubicBezTo>
                  <a:cubicBezTo>
                    <a:pt x="3067640" y="3738445"/>
                    <a:pt x="3042313" y="3738445"/>
                    <a:pt x="3019235" y="3738372"/>
                  </a:cubicBezTo>
                  <a:cubicBezTo>
                    <a:pt x="3003778" y="3738372"/>
                    <a:pt x="2988392" y="3738372"/>
                    <a:pt x="2972935" y="3738372"/>
                  </a:cubicBezTo>
                  <a:lnTo>
                    <a:pt x="291638" y="3738372"/>
                  </a:lnTo>
                  <a:cubicBezTo>
                    <a:pt x="291638" y="3682057"/>
                    <a:pt x="291710" y="3625669"/>
                    <a:pt x="291710" y="3569353"/>
                  </a:cubicBezTo>
                  <a:lnTo>
                    <a:pt x="291710" y="3468334"/>
                  </a:lnTo>
                  <a:lnTo>
                    <a:pt x="3093476" y="3468334"/>
                  </a:lnTo>
                  <a:cubicBezTo>
                    <a:pt x="3092822" y="3532923"/>
                    <a:pt x="3092968" y="3597874"/>
                    <a:pt x="3093113" y="3660866"/>
                  </a:cubicBezTo>
                  <a:close/>
                  <a:moveTo>
                    <a:pt x="1685808" y="423817"/>
                  </a:moveTo>
                  <a:cubicBezTo>
                    <a:pt x="1785158" y="712361"/>
                    <a:pt x="1885089" y="1004098"/>
                    <a:pt x="1981971" y="1287127"/>
                  </a:cubicBezTo>
                  <a:lnTo>
                    <a:pt x="1996123" y="1328420"/>
                  </a:lnTo>
                  <a:lnTo>
                    <a:pt x="1377742" y="1328420"/>
                  </a:lnTo>
                  <a:cubicBezTo>
                    <a:pt x="1473319" y="1047206"/>
                    <a:pt x="1579345" y="735294"/>
                    <a:pt x="1685808" y="423817"/>
                  </a:cubicBezTo>
                  <a:close/>
                  <a:moveTo>
                    <a:pt x="1074684" y="2217783"/>
                  </a:moveTo>
                  <a:lnTo>
                    <a:pt x="1133902" y="2043974"/>
                  </a:lnTo>
                  <a:cubicBezTo>
                    <a:pt x="1181146" y="1905290"/>
                    <a:pt x="1229987" y="1762034"/>
                    <a:pt x="1277303" y="1620375"/>
                  </a:cubicBezTo>
                  <a:cubicBezTo>
                    <a:pt x="1527965" y="1621609"/>
                    <a:pt x="1796769" y="1621681"/>
                    <a:pt x="2097433" y="1620593"/>
                  </a:cubicBezTo>
                  <a:cubicBezTo>
                    <a:pt x="2160135" y="1806085"/>
                    <a:pt x="2226465" y="1999198"/>
                    <a:pt x="2280168" y="2155517"/>
                  </a:cubicBezTo>
                  <a:lnTo>
                    <a:pt x="2308834" y="2238901"/>
                  </a:lnTo>
                  <a:cubicBezTo>
                    <a:pt x="2313623" y="2253053"/>
                    <a:pt x="2318485" y="2267132"/>
                    <a:pt x="2323348" y="2281283"/>
                  </a:cubicBezTo>
                  <a:cubicBezTo>
                    <a:pt x="2051640" y="2287452"/>
                    <a:pt x="1326942" y="2288685"/>
                    <a:pt x="1052549" y="2283460"/>
                  </a:cubicBezTo>
                  <a:cubicBezTo>
                    <a:pt x="1059879" y="2261471"/>
                    <a:pt x="1067281" y="2239627"/>
                    <a:pt x="1074684" y="2217783"/>
                  </a:cubicBezTo>
                  <a:close/>
                  <a:moveTo>
                    <a:pt x="759070" y="3145826"/>
                  </a:moveTo>
                  <a:cubicBezTo>
                    <a:pt x="769956" y="3113750"/>
                    <a:pt x="780915" y="3081746"/>
                    <a:pt x="791800" y="3049742"/>
                  </a:cubicBezTo>
                  <a:lnTo>
                    <a:pt x="799420" y="3027317"/>
                  </a:lnTo>
                  <a:cubicBezTo>
                    <a:pt x="849712" y="2879707"/>
                    <a:pt x="901601" y="2727307"/>
                    <a:pt x="952256" y="2576939"/>
                  </a:cubicBezTo>
                  <a:cubicBezTo>
                    <a:pt x="1418672" y="2577810"/>
                    <a:pt x="1901127" y="2577882"/>
                    <a:pt x="2425601" y="2577084"/>
                  </a:cubicBezTo>
                  <a:cubicBezTo>
                    <a:pt x="2477489" y="2730065"/>
                    <a:pt x="2530394" y="2884279"/>
                    <a:pt x="2584387" y="3041759"/>
                  </a:cubicBezTo>
                  <a:cubicBezTo>
                    <a:pt x="2596506" y="3077101"/>
                    <a:pt x="2608626" y="3112371"/>
                    <a:pt x="2620745" y="3147713"/>
                  </a:cubicBezTo>
                  <a:lnTo>
                    <a:pt x="2630180" y="3175218"/>
                  </a:lnTo>
                  <a:lnTo>
                    <a:pt x="749056" y="3175218"/>
                  </a:lnTo>
                  <a:lnTo>
                    <a:pt x="759070" y="3145826"/>
                  </a:lnTo>
                  <a:close/>
                </a:path>
              </a:pathLst>
            </a:custGeom>
            <a:grpFill/>
            <a:ln w="72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rgbClr val="C1F50E"/>
                </a:solidFill>
              </a:endParaRPr>
            </a:p>
          </p:txBody>
        </p: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8A1524FD-2F24-4B3B-BCEF-C8FE0E293CF3}"/>
              </a:ext>
            </a:extLst>
          </p:cNvPr>
          <p:cNvSpPr txBox="1"/>
          <p:nvPr userDrawn="1"/>
        </p:nvSpPr>
        <p:spPr>
          <a:xfrm>
            <a:off x="1260759" y="806004"/>
            <a:ext cx="28732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spc="600">
                <a:solidFill>
                  <a:srgbClr val="C1F50E"/>
                </a:solidFill>
              </a:rPr>
              <a:t>SAFETY MOMENT</a:t>
            </a:r>
          </a:p>
        </p:txBody>
      </p:sp>
    </p:spTree>
    <p:extLst>
      <p:ext uri="{BB962C8B-B14F-4D97-AF65-F5344CB8AC3E}">
        <p14:creationId xmlns:p14="http://schemas.microsoft.com/office/powerpoint/2010/main" val="338341247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d 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388AB8B-3527-4002-A31E-A3935D927B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5249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388AB8B-3527-4002-A31E-A3935D927B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B4C77D9E-C9D2-8B4E-A88F-C33C414DD3A3}"/>
              </a:ext>
            </a:extLst>
          </p:cNvPr>
          <p:cNvSpPr/>
          <p:nvPr userDrawn="1"/>
        </p:nvSpPr>
        <p:spPr>
          <a:xfrm>
            <a:off x="4" y="2285999"/>
            <a:ext cx="6096000" cy="2286000"/>
          </a:xfrm>
          <a:prstGeom prst="rect">
            <a:avLst/>
          </a:prstGeom>
          <a:solidFill>
            <a:srgbClr val="0A3E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C34B044-B67D-43ED-95A5-F413A87BE73F}"/>
              </a:ext>
            </a:extLst>
          </p:cNvPr>
          <p:cNvSpPr/>
          <p:nvPr userDrawn="1"/>
        </p:nvSpPr>
        <p:spPr>
          <a:xfrm>
            <a:off x="-2" y="-1"/>
            <a:ext cx="6095994" cy="228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C38E51D-8A92-4B29-BD28-BD65F8DE4BF3}"/>
              </a:ext>
            </a:extLst>
          </p:cNvPr>
          <p:cNvSpPr/>
          <p:nvPr userDrawn="1"/>
        </p:nvSpPr>
        <p:spPr>
          <a:xfrm>
            <a:off x="3" y="4572000"/>
            <a:ext cx="6095994" cy="230986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71832CE4-A33C-42BC-807B-3D9A74BE766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5996" y="3452866"/>
            <a:ext cx="6096000" cy="3428999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6A226-FB73-094F-8B9B-9EE2B6DCCC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6CE9629E-05E1-4DE9-8CDC-4A8A919816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32341" y="1058625"/>
            <a:ext cx="4721457" cy="1997353"/>
          </a:xfrm>
        </p:spPr>
        <p:txBody>
          <a:bodyPr vert="horz" lIns="0" anchor="ctr">
            <a:normAutofit/>
          </a:bodyPr>
          <a:lstStyle>
            <a:lvl1pPr>
              <a:defRPr sz="3600" b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D4A8D81-784C-48C7-A68D-DE09DEED69F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632340" y="613746"/>
            <a:ext cx="4721457" cy="422477"/>
          </a:xfrm>
          <a:ln>
            <a:noFill/>
          </a:ln>
        </p:spPr>
        <p:txBody>
          <a:bodyPr lIns="0" anchor="t">
            <a:normAutofit/>
          </a:bodyPr>
          <a:lstStyle>
            <a:lvl1pPr marL="0" indent="0">
              <a:buNone/>
              <a:defRPr sz="1800" b="1" cap="all" baseline="0">
                <a:solidFill>
                  <a:srgbClr val="191919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68848F88-B775-402E-8EAD-50E0407D9A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38690" y="226219"/>
            <a:ext cx="4721457" cy="365125"/>
          </a:xfrm>
        </p:spPr>
        <p:txBody>
          <a:bodyPr lIns="0"/>
          <a:lstStyle/>
          <a:p>
            <a:endParaRPr lang="en-US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00EE421E-FB94-4031-BB63-B1202113644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 lIns="0"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ompany Confidential –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17670275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d 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1FA9B50-F227-4EE2-9324-3F2885D674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31768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1FA9B50-F227-4EE2-9324-3F2885D674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>
            <a:extLst>
              <a:ext uri="{FF2B5EF4-FFF2-40B4-BE49-F238E27FC236}">
                <a16:creationId xmlns:a16="http://schemas.microsoft.com/office/drawing/2014/main" id="{2B1507A3-6C72-4F71-B08C-0308B5BD2904}"/>
              </a:ext>
            </a:extLst>
          </p:cNvPr>
          <p:cNvSpPr/>
          <p:nvPr userDrawn="1"/>
        </p:nvSpPr>
        <p:spPr>
          <a:xfrm>
            <a:off x="6096000" y="18522"/>
            <a:ext cx="6095994" cy="624112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71832CE4-A33C-42BC-807B-3D9A74BE766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452866"/>
            <a:ext cx="6096000" cy="3428999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6A226-FB73-094F-8B9B-9EE2B6DCCC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3C29C-B29B-5046-9203-657F307C8DD3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DC2EE4A1-602B-46FD-A457-090BF04B35E3}"/>
              </a:ext>
            </a:extLst>
          </p:cNvPr>
          <p:cNvSpPr txBox="1">
            <a:spLocks/>
          </p:cNvSpPr>
          <p:nvPr userDrawn="1"/>
        </p:nvSpPr>
        <p:spPr>
          <a:xfrm>
            <a:off x="10834602" y="6354160"/>
            <a:ext cx="519195" cy="365125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b="1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F33C29C-B29B-5046-9203-657F307C8DD3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6CE9629E-05E1-4DE9-8CDC-4A8A919816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6345" y="1058625"/>
            <a:ext cx="4721457" cy="1997353"/>
          </a:xfrm>
        </p:spPr>
        <p:txBody>
          <a:bodyPr vert="horz" lIns="0" anchor="ctr">
            <a:normAutofit/>
          </a:bodyPr>
          <a:lstStyle>
            <a:lvl1pPr>
              <a:defRPr sz="3600" b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D4A8D81-784C-48C7-A68D-DE09DEED69F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36344" y="613746"/>
            <a:ext cx="4721457" cy="422477"/>
          </a:xfrm>
          <a:ln>
            <a:noFill/>
          </a:ln>
        </p:spPr>
        <p:txBody>
          <a:bodyPr lIns="0" anchor="t">
            <a:normAutofit/>
          </a:bodyPr>
          <a:lstStyle>
            <a:lvl1pPr marL="0" indent="0">
              <a:buNone/>
              <a:defRPr sz="1800" b="1" cap="all" baseline="0">
                <a:solidFill>
                  <a:srgbClr val="191919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68848F88-B775-402E-8EAD-50E0407D9A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2694" y="226219"/>
            <a:ext cx="4721457" cy="365125"/>
          </a:xfrm>
        </p:spPr>
        <p:txBody>
          <a:bodyPr l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090780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d 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50C6939-D9DC-4BE1-9413-867433D536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8073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50C6939-D9DC-4BE1-9413-867433D536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>
            <a:extLst>
              <a:ext uri="{FF2B5EF4-FFF2-40B4-BE49-F238E27FC236}">
                <a16:creationId xmlns:a16="http://schemas.microsoft.com/office/drawing/2014/main" id="{58320DE8-D27E-47F2-B710-4C3209747EC7}"/>
              </a:ext>
            </a:extLst>
          </p:cNvPr>
          <p:cNvSpPr/>
          <p:nvPr userDrawn="1"/>
        </p:nvSpPr>
        <p:spPr>
          <a:xfrm>
            <a:off x="6089649" y="3452867"/>
            <a:ext cx="6107061" cy="3405133"/>
          </a:xfrm>
          <a:prstGeom prst="rect">
            <a:avLst/>
          </a:prstGeom>
          <a:solidFill>
            <a:schemeClr val="tx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4C77D9E-C9D2-8B4E-A88F-C33C414DD3A3}"/>
              </a:ext>
            </a:extLst>
          </p:cNvPr>
          <p:cNvSpPr/>
          <p:nvPr userDrawn="1"/>
        </p:nvSpPr>
        <p:spPr>
          <a:xfrm>
            <a:off x="2" y="0"/>
            <a:ext cx="6089647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ctr"/>
          <a:lstStyle/>
          <a:p>
            <a:pPr algn="ctr"/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6A226-FB73-094F-8B9B-9EE2B6DCCC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6CE9629E-05E1-4DE9-8CDC-4A8A919816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32341" y="1058625"/>
            <a:ext cx="4721457" cy="1997353"/>
          </a:xfrm>
        </p:spPr>
        <p:txBody>
          <a:bodyPr vert="horz" lIns="0" anchor="ctr">
            <a:normAutofit/>
          </a:bodyPr>
          <a:lstStyle>
            <a:lvl1pPr>
              <a:defRPr sz="3600" b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D4A8D81-784C-48C7-A68D-DE09DEED69F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632340" y="613746"/>
            <a:ext cx="4721457" cy="422477"/>
          </a:xfrm>
          <a:ln>
            <a:noFill/>
          </a:ln>
        </p:spPr>
        <p:txBody>
          <a:bodyPr lIns="0" anchor="t">
            <a:normAutofit/>
          </a:bodyPr>
          <a:lstStyle>
            <a:lvl1pPr marL="0" indent="0">
              <a:buNone/>
              <a:defRPr sz="1800" b="1" cap="all" baseline="0">
                <a:solidFill>
                  <a:srgbClr val="191919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68848F88-B775-402E-8EAD-50E0407D9A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38690" y="226219"/>
            <a:ext cx="4721457" cy="365125"/>
          </a:xfrm>
        </p:spPr>
        <p:txBody>
          <a:bodyPr lIns="0"/>
          <a:lstStyle/>
          <a:p>
            <a:endParaRPr lang="en-US"/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0F6D5D45-DDA7-4777-9D1A-1E8B1F3EEB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 lIns="0"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ompany Confidential –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10181237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Cover A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DF7BA979-C4F1-48E0-9450-25BEC2537E4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 lIns="0"/>
          <a:lstStyle>
            <a:lvl1pPr>
              <a:defRPr cap="all" baseline="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2F55B01A-1FF7-499D-BB50-02712DB950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1" y="5282116"/>
            <a:ext cx="3933824" cy="851984"/>
          </a:xfrm>
        </p:spPr>
        <p:txBody>
          <a:bodyPr lIns="0" anchor="t">
            <a:noAutofit/>
          </a:bodyPr>
          <a:lstStyle>
            <a:lvl1pPr marL="0" indent="0">
              <a:buNone/>
              <a:defRPr sz="1800" b="0" cap="all" spc="300" baseline="0">
                <a:solidFill>
                  <a:srgbClr val="191919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D31E6CD-85C5-4EC9-9182-DBE86D6119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590676"/>
            <a:ext cx="4770000" cy="3676650"/>
          </a:xfrm>
        </p:spPr>
        <p:txBody>
          <a:bodyPr lIns="0" anchor="ctr">
            <a:normAutofit/>
          </a:bodyPr>
          <a:lstStyle>
            <a:lvl1pPr>
              <a:lnSpc>
                <a:spcPct val="80000"/>
              </a:lnSpc>
              <a:defRPr sz="48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5856257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Cover A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37C7B2E-0EFB-426F-92E7-38787826A7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8116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37C7B2E-0EFB-426F-92E7-38787826A7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DF7BA979-C4F1-48E0-9450-25BEC2537E4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598920" y="6356350"/>
            <a:ext cx="2743200" cy="365125"/>
          </a:xfrm>
        </p:spPr>
        <p:txBody>
          <a:bodyPr lIns="0"/>
          <a:lstStyle>
            <a:lvl1pPr>
              <a:defRPr cap="all" baseline="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2F55B01A-1FF7-499D-BB50-02712DB950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98921" y="5282116"/>
            <a:ext cx="3933824" cy="851984"/>
          </a:xfrm>
        </p:spPr>
        <p:txBody>
          <a:bodyPr lIns="0" anchor="t">
            <a:noAutofit/>
          </a:bodyPr>
          <a:lstStyle>
            <a:lvl1pPr marL="0" indent="0">
              <a:buNone/>
              <a:defRPr sz="1800" b="0" cap="all" spc="300" baseline="0">
                <a:solidFill>
                  <a:srgbClr val="191919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D31E6CD-85C5-4EC9-9182-DBE86D6119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92570" y="1590676"/>
            <a:ext cx="4770000" cy="3676650"/>
          </a:xfrm>
        </p:spPr>
        <p:txBody>
          <a:bodyPr vert="horz" lIns="0" anchor="ctr">
            <a:normAutofit/>
          </a:bodyPr>
          <a:lstStyle>
            <a:lvl1pPr>
              <a:lnSpc>
                <a:spcPct val="80000"/>
              </a:lnSpc>
              <a:defRPr sz="48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1690066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 Cover B - Blue on Black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992A09-3C22-483A-B317-942F3D8671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5545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992A09-3C22-483A-B317-942F3D8671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Shape&#10;&#10;Description automatically generated with medium confidence">
            <a:extLst>
              <a:ext uri="{FF2B5EF4-FFF2-40B4-BE49-F238E27FC236}">
                <a16:creationId xmlns:a16="http://schemas.microsoft.com/office/drawing/2014/main" id="{CD4DB790-FE02-465B-8CA7-567D683AB42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52048" y="520682"/>
            <a:ext cx="11690016" cy="5816635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AA78E789-4F08-4F08-A53A-9F9CE7C926E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997077" y="927137"/>
            <a:ext cx="1371656" cy="274331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FA6966C4-DFA3-4FFA-93D6-7B49ECFB4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07779" y="1649896"/>
            <a:ext cx="5397500" cy="2353412"/>
          </a:xfrm>
        </p:spPr>
        <p:txBody>
          <a:bodyPr vert="horz" lIns="0">
            <a:normAutofit/>
          </a:bodyPr>
          <a:lstStyle>
            <a:lvl1pPr>
              <a:lnSpc>
                <a:spcPct val="80000"/>
              </a:lnSpc>
              <a:defRPr sz="48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BAB63E8-B100-4EE1-B6E5-DBFF059BF70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07779" y="4003308"/>
            <a:ext cx="5397500" cy="1314886"/>
          </a:xfrm>
        </p:spPr>
        <p:txBody>
          <a:bodyPr lIns="0" anchor="t">
            <a:normAutofit/>
          </a:bodyPr>
          <a:lstStyle>
            <a:lvl1pPr marL="0" indent="0">
              <a:buNone/>
              <a:defRPr sz="1800" b="0" cap="all" spc="3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081727EC-42B7-449F-BA70-62C5D0C099A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107779" y="5342940"/>
            <a:ext cx="2264230" cy="365125"/>
          </a:xfrm>
        </p:spPr>
        <p:txBody>
          <a:bodyPr lIns="0"/>
          <a:lstStyle>
            <a:lvl1pPr algn="l">
              <a:defRPr sz="1000" cap="all" spc="3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ompany Confidential –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6327839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 Cover B - White on Blu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992A09-3C22-483A-B317-942F3D8671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49875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992A09-3C22-483A-B317-942F3D8671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CD4DB790-FE02-465B-8CA7-567D683AB42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252048" y="520682"/>
            <a:ext cx="11690016" cy="5816634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AA78E789-4F08-4F08-A53A-9F9CE7C926E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997077" y="927137"/>
            <a:ext cx="1371656" cy="274331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FA6966C4-DFA3-4FFA-93D6-7B49ECFB4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07779" y="1649896"/>
            <a:ext cx="5397500" cy="2353412"/>
          </a:xfrm>
        </p:spPr>
        <p:txBody>
          <a:bodyPr vert="horz" lIns="0">
            <a:normAutofit/>
          </a:bodyPr>
          <a:lstStyle>
            <a:lvl1pPr>
              <a:lnSpc>
                <a:spcPct val="80000"/>
              </a:lnSpc>
              <a:defRPr sz="4800" b="0">
                <a:solidFill>
                  <a:srgbClr val="191919"/>
                </a:solidFill>
                <a:latin typeface="+mn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BAB63E8-B100-4EE1-B6E5-DBFF059BF70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07779" y="4003308"/>
            <a:ext cx="5397500" cy="1314886"/>
          </a:xfrm>
        </p:spPr>
        <p:txBody>
          <a:bodyPr lIns="0" anchor="t">
            <a:normAutofit/>
          </a:bodyPr>
          <a:lstStyle>
            <a:lvl1pPr marL="0" indent="0">
              <a:buNone/>
              <a:defRPr sz="1800" b="0" cap="all" spc="300" baseline="0">
                <a:solidFill>
                  <a:srgbClr val="191919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081727EC-42B7-449F-BA70-62C5D0C099A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107779" y="5342940"/>
            <a:ext cx="2264230" cy="365125"/>
          </a:xfrm>
        </p:spPr>
        <p:txBody>
          <a:bodyPr lIns="0"/>
          <a:lstStyle>
            <a:lvl1pPr algn="l">
              <a:defRPr sz="1000" cap="all" spc="300" baseline="0">
                <a:solidFill>
                  <a:srgbClr val="191919"/>
                </a:solidFill>
              </a:defRPr>
            </a:lvl1pPr>
          </a:lstStyle>
          <a:p>
            <a:r>
              <a:rPr lang="en-US"/>
              <a:t>Company Confidential –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201849396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 Cover B - Black on Whit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992A09-3C22-483A-B317-942F3D8671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72581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992A09-3C22-483A-B317-942F3D8671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B0EA330C-F848-467C-A955-0289CF68AA4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612648" y="872762"/>
            <a:ext cx="10969876" cy="5094677"/>
          </a:xfrm>
          <a:prstGeom prst="rect">
            <a:avLst/>
          </a:prstGeom>
          <a:effectLst>
            <a:outerShdw blurRad="279400" sx="102000" sy="102000" algn="ctr" rotWithShape="0">
              <a:prstClr val="black">
                <a:alpha val="31000"/>
              </a:prstClr>
            </a:outerShdw>
          </a:effectLst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AA78E789-4F08-4F08-A53A-9F9CE7C926E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997077" y="927137"/>
            <a:ext cx="1371656" cy="274331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FA6966C4-DFA3-4FFA-93D6-7B49ECFB4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07779" y="1649896"/>
            <a:ext cx="5397500" cy="2353412"/>
          </a:xfrm>
        </p:spPr>
        <p:txBody>
          <a:bodyPr vert="horz" lIns="0">
            <a:normAutofit/>
          </a:bodyPr>
          <a:lstStyle>
            <a:lvl1pPr>
              <a:lnSpc>
                <a:spcPct val="80000"/>
              </a:lnSpc>
              <a:defRPr sz="48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BAB63E8-B100-4EE1-B6E5-DBFF059BF70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07779" y="4003308"/>
            <a:ext cx="5397500" cy="1314886"/>
          </a:xfrm>
        </p:spPr>
        <p:txBody>
          <a:bodyPr lIns="0" anchor="t">
            <a:normAutofit/>
          </a:bodyPr>
          <a:lstStyle>
            <a:lvl1pPr marL="0" indent="0">
              <a:buNone/>
              <a:defRPr sz="1800" b="0" cap="all" spc="3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081727EC-42B7-449F-BA70-62C5D0C099A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107779" y="5342940"/>
            <a:ext cx="2264230" cy="365125"/>
          </a:xfrm>
        </p:spPr>
        <p:txBody>
          <a:bodyPr lIns="0"/>
          <a:lstStyle>
            <a:lvl1pPr algn="l">
              <a:defRPr sz="1000" cap="all" spc="3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ompany Confidential –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252570721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 Cover C -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82013565-ECD5-48E0-92A5-711E31FAB4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1" y="5647994"/>
            <a:ext cx="6400720" cy="647033"/>
          </a:xfrm>
        </p:spPr>
        <p:txBody>
          <a:bodyPr lIns="0" anchor="t">
            <a:normAutofit/>
          </a:bodyPr>
          <a:lstStyle>
            <a:lvl1pPr marL="0" indent="0">
              <a:buNone/>
              <a:defRPr sz="1800" b="0" cap="all" spc="300" baseline="0">
                <a:solidFill>
                  <a:srgbClr val="191919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C539648C-3543-4663-9E22-699C3CC4EE6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 lIns="0"/>
          <a:lstStyle>
            <a:lvl1pPr>
              <a:defRPr cap="all" baseline="0">
                <a:solidFill>
                  <a:srgbClr val="191919"/>
                </a:solidFill>
              </a:defRPr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7814A8EE-5015-45DA-8D7F-CE0FCE853D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79" y="3732285"/>
            <a:ext cx="6400721" cy="1915061"/>
          </a:xfrm>
          <a:noFill/>
        </p:spPr>
        <p:txBody>
          <a:bodyPr lIns="0" anchor="b">
            <a:normAutofit/>
          </a:bodyPr>
          <a:lstStyle>
            <a:lvl1pPr>
              <a:lnSpc>
                <a:spcPct val="80000"/>
              </a:lnSpc>
              <a:defRPr sz="4800" b="0">
                <a:solidFill>
                  <a:srgbClr val="191919"/>
                </a:solidFill>
                <a:latin typeface="+mn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0875615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eature Content 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6D2E09D-92A6-46B2-89A0-D2E1E18EB0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4546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6D2E09D-92A6-46B2-89A0-D2E1E18EB0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hteck 22">
            <a:extLst>
              <a:ext uri="{FF2B5EF4-FFF2-40B4-BE49-F238E27FC236}">
                <a16:creationId xmlns:a16="http://schemas.microsoft.com/office/drawing/2014/main" id="{E424A323-C662-4347-B029-C854D2426BDD}"/>
              </a:ext>
            </a:extLst>
          </p:cNvPr>
          <p:cNvSpPr/>
          <p:nvPr userDrawn="1"/>
        </p:nvSpPr>
        <p:spPr>
          <a:xfrm>
            <a:off x="-8030" y="-18000"/>
            <a:ext cx="4076031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>
              <a:latin typeface="+mj-lt"/>
            </a:endParaRPr>
          </a:p>
        </p:txBody>
      </p:sp>
      <p:pic>
        <p:nvPicPr>
          <p:cNvPr id="33" name="Picture 32" descr="Background pattern&#10;&#10;Description automatically generated">
            <a:extLst>
              <a:ext uri="{FF2B5EF4-FFF2-40B4-BE49-F238E27FC236}">
                <a16:creationId xmlns:a16="http://schemas.microsoft.com/office/drawing/2014/main" id="{F9E4A5BA-507F-4B1F-8E10-EFBF28FC9F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alphaModFix amt="10000"/>
          </a:blip>
          <a:srcRect l="17310" t="10249" r="17711" b="21072"/>
          <a:stretch/>
        </p:blipFill>
        <p:spPr>
          <a:xfrm rot="5400000">
            <a:off x="-1416137" y="1376555"/>
            <a:ext cx="6878692" cy="4089581"/>
          </a:xfrm>
          <a:prstGeom prst="rect">
            <a:avLst/>
          </a:prstGeom>
        </p:spPr>
      </p:pic>
      <p:sp>
        <p:nvSpPr>
          <p:cNvPr id="36" name="Rechteck 22">
            <a:extLst>
              <a:ext uri="{FF2B5EF4-FFF2-40B4-BE49-F238E27FC236}">
                <a16:creationId xmlns:a16="http://schemas.microsoft.com/office/drawing/2014/main" id="{4E50182D-D793-BE4F-A1B6-4F54C068315D}"/>
              </a:ext>
            </a:extLst>
          </p:cNvPr>
          <p:cNvSpPr/>
          <p:nvPr userDrawn="1"/>
        </p:nvSpPr>
        <p:spPr>
          <a:xfrm>
            <a:off x="8124000" y="-18000"/>
            <a:ext cx="4068000" cy="6876000"/>
          </a:xfrm>
          <a:prstGeom prst="rect">
            <a:avLst/>
          </a:prstGeom>
          <a:solidFill>
            <a:srgbClr val="0D64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latin typeface="+mj-lt"/>
            </a:endParaRPr>
          </a:p>
        </p:txBody>
      </p:sp>
      <p:pic>
        <p:nvPicPr>
          <p:cNvPr id="29" name="Picture 28" descr="Background pattern&#10;&#10;Description automatically generated">
            <a:extLst>
              <a:ext uri="{FF2B5EF4-FFF2-40B4-BE49-F238E27FC236}">
                <a16:creationId xmlns:a16="http://schemas.microsoft.com/office/drawing/2014/main" id="{98859201-74C5-4317-8B8B-616134480D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alphaModFix amt="10000"/>
          </a:blip>
          <a:srcRect l="34991" r="30" b="31841"/>
          <a:stretch/>
        </p:blipFill>
        <p:spPr>
          <a:xfrm rot="16200000">
            <a:off x="6723345" y="1413207"/>
            <a:ext cx="6878692" cy="4058623"/>
          </a:xfrm>
          <a:prstGeom prst="rect">
            <a:avLst/>
          </a:prstGeom>
        </p:spPr>
      </p:pic>
      <p:sp>
        <p:nvSpPr>
          <p:cNvPr id="34" name="Rechteck 22">
            <a:extLst>
              <a:ext uri="{FF2B5EF4-FFF2-40B4-BE49-F238E27FC236}">
                <a16:creationId xmlns:a16="http://schemas.microsoft.com/office/drawing/2014/main" id="{DBF0FFDD-A8E1-E64F-8D92-D869C6D7A2F7}"/>
              </a:ext>
            </a:extLst>
          </p:cNvPr>
          <p:cNvSpPr/>
          <p:nvPr userDrawn="1"/>
        </p:nvSpPr>
        <p:spPr>
          <a:xfrm>
            <a:off x="4057347" y="-18000"/>
            <a:ext cx="4068000" cy="6876000"/>
          </a:xfrm>
          <a:prstGeom prst="rect">
            <a:avLst/>
          </a:prstGeom>
          <a:solidFill>
            <a:srgbClr val="0023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>
              <a:latin typeface="+mj-lt"/>
            </a:endParaRPr>
          </a:p>
        </p:txBody>
      </p:sp>
      <p:pic>
        <p:nvPicPr>
          <p:cNvPr id="30" name="Picture 29" descr="Background pattern&#10;&#10;Description automatically generated">
            <a:extLst>
              <a:ext uri="{FF2B5EF4-FFF2-40B4-BE49-F238E27FC236}">
                <a16:creationId xmlns:a16="http://schemas.microsoft.com/office/drawing/2014/main" id="{8EACEE81-400E-4C08-9538-6DB1D5D8E6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alphaModFix amt="10000"/>
          </a:blip>
          <a:srcRect l="34821" t="-167" r="200" b="167"/>
          <a:stretch/>
        </p:blipFill>
        <p:spPr>
          <a:xfrm rot="16200000">
            <a:off x="2657966" y="1413207"/>
            <a:ext cx="6878692" cy="4058623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1DDD94-83AE-854D-AA85-D405490CA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868D98-9614-6F4D-9879-BC271C28C5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226219"/>
            <a:ext cx="5035826" cy="365125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6A226-FB73-094F-8B9B-9EE2B6DCCC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9EB6713A-BB0E-2149-B39F-9A13A75C4A5E}"/>
              </a:ext>
            </a:extLst>
          </p:cNvPr>
          <p:cNvSpPr/>
          <p:nvPr userDrawn="1"/>
        </p:nvSpPr>
        <p:spPr>
          <a:xfrm>
            <a:off x="1054062" y="528620"/>
            <a:ext cx="1959876" cy="1959876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D6D5BCC5-8DE4-3C45-9C96-76B15B63F9B7}"/>
              </a:ext>
            </a:extLst>
          </p:cNvPr>
          <p:cNvSpPr/>
          <p:nvPr userDrawn="1"/>
        </p:nvSpPr>
        <p:spPr>
          <a:xfrm>
            <a:off x="5100717" y="528620"/>
            <a:ext cx="1959876" cy="1959876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EBFAD67F-E67F-4145-B506-97D2D111ABF8}"/>
              </a:ext>
            </a:extLst>
          </p:cNvPr>
          <p:cNvSpPr/>
          <p:nvPr userDrawn="1"/>
        </p:nvSpPr>
        <p:spPr>
          <a:xfrm>
            <a:off x="9178062" y="528620"/>
            <a:ext cx="1959876" cy="1959876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8850A48E-214A-ED47-A94B-626C2719717F}"/>
              </a:ext>
            </a:extLst>
          </p:cNvPr>
          <p:cNvSpPr>
            <a:spLocks noGrp="1"/>
          </p:cNvSpPr>
          <p:nvPr>
            <p:ph type="body" sz="half" idx="26" hasCustomPrompt="1"/>
          </p:nvPr>
        </p:nvSpPr>
        <p:spPr>
          <a:xfrm>
            <a:off x="1190521" y="661438"/>
            <a:ext cx="1686958" cy="1694241"/>
          </a:xfrm>
          <a:prstGeom prst="ellipse">
            <a:avLst/>
          </a:prstGeom>
          <a:solidFill>
            <a:schemeClr val="bg1"/>
          </a:solidFill>
        </p:spPr>
        <p:txBody>
          <a:bodyPr tIns="0" rIns="0" bIns="0" anchor="ctr">
            <a:noAutofit/>
          </a:bodyPr>
          <a:lstStyle>
            <a:lvl1pPr marL="0" indent="0" algn="ctr">
              <a:buNone/>
              <a:defRPr sz="2800" b="0">
                <a:solidFill>
                  <a:schemeClr val="tx2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C5C9CF31-049D-F046-A000-CE79DBAB2239}"/>
              </a:ext>
            </a:extLst>
          </p:cNvPr>
          <p:cNvSpPr>
            <a:spLocks noGrp="1"/>
          </p:cNvSpPr>
          <p:nvPr>
            <p:ph type="body" sz="half" idx="27" hasCustomPrompt="1"/>
          </p:nvPr>
        </p:nvSpPr>
        <p:spPr>
          <a:xfrm>
            <a:off x="5255898" y="661438"/>
            <a:ext cx="1686958" cy="1694241"/>
          </a:xfrm>
          <a:prstGeom prst="ellipse">
            <a:avLst/>
          </a:prstGeom>
          <a:solidFill>
            <a:schemeClr val="bg1"/>
          </a:solidFill>
        </p:spPr>
        <p:txBody>
          <a:bodyPr tIns="0" rIns="0" bIns="0" anchor="ctr">
            <a:noAutofit/>
          </a:bodyPr>
          <a:lstStyle>
            <a:lvl1pPr marL="0" indent="0" algn="ctr">
              <a:buNone/>
              <a:defRPr sz="2800" b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D5E757AF-EC3A-CF46-BC66-2553CE78FD85}"/>
              </a:ext>
            </a:extLst>
          </p:cNvPr>
          <p:cNvSpPr>
            <a:spLocks noGrp="1"/>
          </p:cNvSpPr>
          <p:nvPr>
            <p:ph type="body" sz="half" idx="28" hasCustomPrompt="1"/>
          </p:nvPr>
        </p:nvSpPr>
        <p:spPr>
          <a:xfrm>
            <a:off x="9315194" y="661438"/>
            <a:ext cx="1686958" cy="1694241"/>
          </a:xfrm>
          <a:prstGeom prst="ellipse">
            <a:avLst/>
          </a:prstGeom>
          <a:solidFill>
            <a:schemeClr val="bg1"/>
          </a:solidFill>
        </p:spPr>
        <p:txBody>
          <a:bodyPr tIns="0" rIns="0" bIns="0" anchor="ctr">
            <a:noAutofit/>
          </a:bodyPr>
          <a:lstStyle>
            <a:lvl1pPr marL="0" indent="0" algn="ctr">
              <a:buNone/>
              <a:defRPr sz="2800" b="0">
                <a:solidFill>
                  <a:schemeClr val="accent3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D3152CE-328E-A242-9033-8F5B815DC3D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29050" y="2577059"/>
            <a:ext cx="3207275" cy="499239"/>
          </a:xfrm>
        </p:spPr>
        <p:txBody>
          <a:bodyPr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800" b="1" cap="all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ext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F348CCBD-39CE-B74E-BD90-4D92DADCF7F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4477017" y="2577059"/>
            <a:ext cx="3207275" cy="499239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51CDFD09-65BA-554E-9490-C96C6C750F71}"/>
              </a:ext>
            </a:extLst>
          </p:cNvPr>
          <p:cNvSpPr>
            <a:spLocks noGrp="1"/>
          </p:cNvSpPr>
          <p:nvPr>
            <p:ph type="body" idx="30" hasCustomPrompt="1"/>
          </p:nvPr>
        </p:nvSpPr>
        <p:spPr>
          <a:xfrm>
            <a:off x="8533016" y="2577059"/>
            <a:ext cx="3207275" cy="499239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6EE9187-402F-454B-B526-34D329B43DD9}"/>
              </a:ext>
            </a:extLst>
          </p:cNvPr>
          <p:cNvGrpSpPr/>
          <p:nvPr userDrawn="1"/>
        </p:nvGrpSpPr>
        <p:grpSpPr>
          <a:xfrm>
            <a:off x="5965074" y="6408183"/>
            <a:ext cx="261852" cy="261455"/>
            <a:chOff x="1830159" y="2890771"/>
            <a:chExt cx="588560" cy="587668"/>
          </a:xfrm>
          <a:solidFill>
            <a:schemeClr val="bg1"/>
          </a:solidFill>
        </p:grpSpPr>
        <p:sp>
          <p:nvSpPr>
            <p:cNvPr id="24" name="Rectangle 15">
              <a:extLst>
                <a:ext uri="{FF2B5EF4-FFF2-40B4-BE49-F238E27FC236}">
                  <a16:creationId xmlns:a16="http://schemas.microsoft.com/office/drawing/2014/main" id="{C54EE56E-ACD6-4617-8229-A083C3EF542F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tangle 15">
              <a:extLst>
                <a:ext uri="{FF2B5EF4-FFF2-40B4-BE49-F238E27FC236}">
                  <a16:creationId xmlns:a16="http://schemas.microsoft.com/office/drawing/2014/main" id="{E55803C4-EAEB-4C64-A076-AA74C897C3A7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8CA933DF-CBDB-41A3-ADFA-BD39888B757B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428625" y="3144529"/>
            <a:ext cx="3207700" cy="1766887"/>
          </a:xfrm>
        </p:spPr>
        <p:txBody>
          <a:bodyPr/>
          <a:lstStyle>
            <a:lvl1pPr marL="182880" indent="-18288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1pPr>
            <a:lvl2pPr marL="685800" indent="-228600">
              <a:buFontTx/>
              <a:buBlip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 or conten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1" name="Content Placeholder 8">
            <a:extLst>
              <a:ext uri="{FF2B5EF4-FFF2-40B4-BE49-F238E27FC236}">
                <a16:creationId xmlns:a16="http://schemas.microsoft.com/office/drawing/2014/main" id="{DCB7D6B5-BDFE-4A95-BCED-7DD97CEE4E2F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4476750" y="3144529"/>
            <a:ext cx="3207700" cy="1766887"/>
          </a:xfrm>
        </p:spPr>
        <p:txBody>
          <a:bodyPr/>
          <a:lstStyle>
            <a:lvl1pPr marL="182880" indent="-18288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1pPr>
            <a:lvl2pPr marL="685800" indent="-228600">
              <a:buFontTx/>
              <a:buBlip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 or content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2" name="Content Placeholder 8">
            <a:extLst>
              <a:ext uri="{FF2B5EF4-FFF2-40B4-BE49-F238E27FC236}">
                <a16:creationId xmlns:a16="http://schemas.microsoft.com/office/drawing/2014/main" id="{86D7ADCB-B2DD-4A21-A076-19A86C8ADD23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8524875" y="3144529"/>
            <a:ext cx="3207700" cy="1766887"/>
          </a:xfrm>
        </p:spPr>
        <p:txBody>
          <a:bodyPr/>
          <a:lstStyle>
            <a:lvl1pPr marL="182880" indent="-18288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1pPr>
            <a:lvl2pPr marL="685800" indent="-228600">
              <a:buFontTx/>
              <a:buBlip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 or content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904117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 Slide A">
    <p:bg>
      <p:bgPr>
        <a:blipFill dpi="0" rotWithShape="1">
          <a:blip r:embed="rId3">
            <a:alphaModFix amt="55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F478774-4405-4693-9C81-D79EA258D3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1783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F478774-4405-4693-9C81-D79EA258D3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1DDD94-83AE-854D-AA85-D405490CA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/>
          <a:lstStyle>
            <a:lvl1pPr>
              <a:defRPr cap="all" baseline="0"/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6A226-FB73-094F-8B9B-9EE2B6DCCC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Ins="0"/>
          <a:lstStyle/>
          <a:p>
            <a:fld id="{5F33C29C-B29B-5046-9203-657F307C8DD3}" type="slidenum">
              <a:rPr lang="en-US" smtClean="0"/>
              <a:t>‹#›</a:t>
            </a:fld>
            <a:endParaRPr lang="en-US"/>
          </a:p>
        </p:txBody>
      </p:sp>
      <p:sp>
        <p:nvSpPr>
          <p:cNvPr id="20" name="Freeform 19">
            <a:extLst>
              <a:ext uri="{FF2B5EF4-FFF2-40B4-BE49-F238E27FC236}">
                <a16:creationId xmlns:a16="http://schemas.microsoft.com/office/drawing/2014/main" id="{F8F7F0BF-78CA-B148-9AE5-8A0031238509}"/>
              </a:ext>
            </a:extLst>
          </p:cNvPr>
          <p:cNvSpPr/>
          <p:nvPr userDrawn="1"/>
        </p:nvSpPr>
        <p:spPr>
          <a:xfrm>
            <a:off x="5420211" y="-6229"/>
            <a:ext cx="5293355" cy="6901016"/>
          </a:xfrm>
          <a:custGeom>
            <a:avLst/>
            <a:gdLst>
              <a:gd name="connsiteX0" fmla="*/ 3016502 w 5293355"/>
              <a:gd name="connsiteY0" fmla="*/ 0 h 6901016"/>
              <a:gd name="connsiteX1" fmla="*/ 5074203 w 5293355"/>
              <a:gd name="connsiteY1" fmla="*/ 0 h 6901016"/>
              <a:gd name="connsiteX2" fmla="*/ 5109224 w 5293355"/>
              <a:gd name="connsiteY2" fmla="*/ 166620 h 6901016"/>
              <a:gd name="connsiteX3" fmla="*/ 3899024 w 5293355"/>
              <a:gd name="connsiteY3" fmla="*/ 6654301 h 6901016"/>
              <a:gd name="connsiteX4" fmla="*/ 3729024 w 5293355"/>
              <a:gd name="connsiteY4" fmla="*/ 6901016 h 6901016"/>
              <a:gd name="connsiteX5" fmla="*/ 0 w 5293355"/>
              <a:gd name="connsiteY5" fmla="*/ 6901016 h 6901016"/>
              <a:gd name="connsiteX6" fmla="*/ 251662 w 5293355"/>
              <a:gd name="connsiteY6" fmla="*/ 6681914 h 6901016"/>
              <a:gd name="connsiteX7" fmla="*/ 3031905 w 5293355"/>
              <a:gd name="connsiteY7" fmla="*/ 271567 h 6901016"/>
              <a:gd name="connsiteX8" fmla="*/ 3016502 w 5293355"/>
              <a:gd name="connsiteY8" fmla="*/ 0 h 69010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293355" h="6901016">
                <a:moveTo>
                  <a:pt x="3016502" y="0"/>
                </a:moveTo>
                <a:lnTo>
                  <a:pt x="5074203" y="0"/>
                </a:lnTo>
                <a:lnTo>
                  <a:pt x="5109224" y="166620"/>
                </a:lnTo>
                <a:cubicBezTo>
                  <a:pt x="5632450" y="2847244"/>
                  <a:pt x="4981769" y="5003861"/>
                  <a:pt x="3899024" y="6654301"/>
                </a:cubicBezTo>
                <a:lnTo>
                  <a:pt x="3729024" y="6901016"/>
                </a:lnTo>
                <a:lnTo>
                  <a:pt x="0" y="6901016"/>
                </a:lnTo>
                <a:lnTo>
                  <a:pt x="251662" y="6681914"/>
                </a:lnTo>
                <a:cubicBezTo>
                  <a:pt x="1995938" y="5101756"/>
                  <a:pt x="3124442" y="2766128"/>
                  <a:pt x="3031905" y="271567"/>
                </a:cubicBezTo>
                <a:lnTo>
                  <a:pt x="3016502" y="0"/>
                </a:lnTo>
                <a:close/>
              </a:path>
            </a:pathLst>
          </a:custGeom>
          <a:solidFill>
            <a:schemeClr val="bg1">
              <a:alpha val="10000"/>
            </a:schemeClr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4" name="Freeform 23">
            <a:extLst>
              <a:ext uri="{FF2B5EF4-FFF2-40B4-BE49-F238E27FC236}">
                <a16:creationId xmlns:a16="http://schemas.microsoft.com/office/drawing/2014/main" id="{8C73B0EA-AFC9-2A47-BAD1-C1234155E9A8}"/>
              </a:ext>
            </a:extLst>
          </p:cNvPr>
          <p:cNvSpPr/>
          <p:nvPr userDrawn="1"/>
        </p:nvSpPr>
        <p:spPr>
          <a:xfrm>
            <a:off x="10996352" y="-6229"/>
            <a:ext cx="1195649" cy="6901016"/>
          </a:xfrm>
          <a:custGeom>
            <a:avLst/>
            <a:gdLst>
              <a:gd name="connsiteX0" fmla="*/ 0 w 1195649"/>
              <a:gd name="connsiteY0" fmla="*/ 0 h 6901016"/>
              <a:gd name="connsiteX1" fmla="*/ 1195649 w 1195649"/>
              <a:gd name="connsiteY1" fmla="*/ 0 h 6901016"/>
              <a:gd name="connsiteX2" fmla="*/ 1195649 w 1195649"/>
              <a:gd name="connsiteY2" fmla="*/ 6901016 h 6901016"/>
              <a:gd name="connsiteX3" fmla="*/ 506235 w 1195649"/>
              <a:gd name="connsiteY3" fmla="*/ 6901016 h 6901016"/>
              <a:gd name="connsiteX4" fmla="*/ 605686 w 1195649"/>
              <a:gd name="connsiteY4" fmla="*/ 6549853 h 6901016"/>
              <a:gd name="connsiteX5" fmla="*/ 66640 w 1195649"/>
              <a:gd name="connsiteY5" fmla="*/ 140488 h 6901016"/>
              <a:gd name="connsiteX6" fmla="*/ 0 w 1195649"/>
              <a:gd name="connsiteY6" fmla="*/ 0 h 69010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5649" h="6901016">
                <a:moveTo>
                  <a:pt x="0" y="0"/>
                </a:moveTo>
                <a:lnTo>
                  <a:pt x="1195649" y="0"/>
                </a:lnTo>
                <a:lnTo>
                  <a:pt x="1195649" y="6901016"/>
                </a:lnTo>
                <a:lnTo>
                  <a:pt x="506235" y="6901016"/>
                </a:lnTo>
                <a:lnTo>
                  <a:pt x="605686" y="6549853"/>
                </a:lnTo>
                <a:cubicBezTo>
                  <a:pt x="1239890" y="4066102"/>
                  <a:pt x="718476" y="1599171"/>
                  <a:pt x="66640" y="140488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10000"/>
            </a:schemeClr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5197D6-0424-E841-8E7C-5CE7BCB142C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839984"/>
            <a:ext cx="10521950" cy="413781"/>
          </a:xfrm>
        </p:spPr>
        <p:txBody>
          <a:bodyPr lIns="0" anchor="t">
            <a:normAutofit/>
          </a:bodyPr>
          <a:lstStyle>
            <a:lvl1pPr marL="0" indent="0">
              <a:buNone/>
              <a:defRPr sz="1800" b="0" cap="all" baseline="0">
                <a:solidFill>
                  <a:srgbClr val="191919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868D98-9614-6F4D-9879-BC271C28C5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9" y="226219"/>
            <a:ext cx="5071947" cy="365125"/>
          </a:xfrm>
        </p:spPr>
        <p:txBody>
          <a:bodyPr lIns="0"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B41BD39-6B4C-1B43-A698-FFB5AF7609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649975"/>
            <a:ext cx="10521950" cy="3240000"/>
          </a:xfrm>
        </p:spPr>
        <p:txBody>
          <a:bodyPr vert="horz" lIns="0" anchor="ctr">
            <a:normAutofit/>
          </a:bodyPr>
          <a:lstStyle>
            <a:lvl1pPr>
              <a:defRPr sz="4800" b="0">
                <a:solidFill>
                  <a:srgbClr val="0D64EF"/>
                </a:solidFill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4072C2A-8D8D-443E-A8E6-C60968242C44}"/>
              </a:ext>
            </a:extLst>
          </p:cNvPr>
          <p:cNvGrpSpPr/>
          <p:nvPr userDrawn="1"/>
        </p:nvGrpSpPr>
        <p:grpSpPr>
          <a:xfrm>
            <a:off x="5965074" y="6408183"/>
            <a:ext cx="261852" cy="261455"/>
            <a:chOff x="1830159" y="2890771"/>
            <a:chExt cx="588560" cy="587668"/>
          </a:xfrm>
          <a:solidFill>
            <a:schemeClr val="tx2"/>
          </a:solidFill>
        </p:grpSpPr>
        <p:sp>
          <p:nvSpPr>
            <p:cNvPr id="14" name="Rectangle 15">
              <a:extLst>
                <a:ext uri="{FF2B5EF4-FFF2-40B4-BE49-F238E27FC236}">
                  <a16:creationId xmlns:a16="http://schemas.microsoft.com/office/drawing/2014/main" id="{AA9DA0ED-99ED-4E37-8D16-1F5FBE54A3E4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5">
              <a:extLst>
                <a:ext uri="{FF2B5EF4-FFF2-40B4-BE49-F238E27FC236}">
                  <a16:creationId xmlns:a16="http://schemas.microsoft.com/office/drawing/2014/main" id="{09980D6F-4900-4E71-859C-71C66733D4DB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98514301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meline 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1B1A7662-0A12-AC4C-9CB8-FB1E4642112C}"/>
              </a:ext>
            </a:extLst>
          </p:cNvPr>
          <p:cNvCxnSpPr/>
          <p:nvPr userDrawn="1"/>
        </p:nvCxnSpPr>
        <p:spPr>
          <a:xfrm>
            <a:off x="0" y="3323900"/>
            <a:ext cx="12192000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1DDD94-83AE-854D-AA85-D405490CA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6A226-FB73-094F-8B9B-9EE2B6DCCC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40E0612C-89FD-7B49-ADA2-BACD6A1B72DC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89193" y="4856159"/>
            <a:ext cx="2515512" cy="1236633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rgbClr val="191919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636D97C9-94BB-0948-BCFE-BE0AA0A87D3C}"/>
              </a:ext>
            </a:extLst>
          </p:cNvPr>
          <p:cNvSpPr>
            <a:spLocks noGrp="1"/>
          </p:cNvSpPr>
          <p:nvPr>
            <p:ph type="body" sz="half" idx="17" hasCustomPrompt="1"/>
          </p:nvPr>
        </p:nvSpPr>
        <p:spPr>
          <a:xfrm>
            <a:off x="489192" y="1230515"/>
            <a:ext cx="2515512" cy="771324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2000" b="1" cap="all" baseline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39403089-069E-CE4D-B79A-1EE1D7FC91E7}"/>
              </a:ext>
            </a:extLst>
          </p:cNvPr>
          <p:cNvSpPr>
            <a:spLocks noGrp="1"/>
          </p:cNvSpPr>
          <p:nvPr>
            <p:ph type="body" sz="half" idx="19" hasCustomPrompt="1"/>
          </p:nvPr>
        </p:nvSpPr>
        <p:spPr>
          <a:xfrm>
            <a:off x="3387066" y="4856159"/>
            <a:ext cx="2523503" cy="1236633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rgbClr val="191919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4E04BD8-FB66-C34C-814F-79E5B7B40388}"/>
              </a:ext>
            </a:extLst>
          </p:cNvPr>
          <p:cNvSpPr>
            <a:spLocks noGrp="1"/>
          </p:cNvSpPr>
          <p:nvPr>
            <p:ph type="body" sz="half" idx="20" hasCustomPrompt="1"/>
          </p:nvPr>
        </p:nvSpPr>
        <p:spPr>
          <a:xfrm>
            <a:off x="3387064" y="1230515"/>
            <a:ext cx="2523503" cy="771324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2000" b="1" cap="all" baseline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9A5F5F67-0A8C-7D43-AB5A-51952A483978}"/>
              </a:ext>
            </a:extLst>
          </p:cNvPr>
          <p:cNvSpPr>
            <a:spLocks noGrp="1"/>
          </p:cNvSpPr>
          <p:nvPr>
            <p:ph type="body" sz="half" idx="22" hasCustomPrompt="1"/>
          </p:nvPr>
        </p:nvSpPr>
        <p:spPr>
          <a:xfrm>
            <a:off x="6284938" y="4856159"/>
            <a:ext cx="2520000" cy="1236633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rgbClr val="191919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75D3EE74-B22C-8F43-86B5-2B689E81BCFE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6281834" y="1230515"/>
            <a:ext cx="2520000" cy="771324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2000" b="1" cap="all" baseline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1497E805-37C0-D346-B732-D0E65B094AD6}"/>
              </a:ext>
            </a:extLst>
          </p:cNvPr>
          <p:cNvSpPr>
            <a:spLocks noGrp="1"/>
          </p:cNvSpPr>
          <p:nvPr>
            <p:ph type="body" sz="half" idx="25" hasCustomPrompt="1"/>
          </p:nvPr>
        </p:nvSpPr>
        <p:spPr>
          <a:xfrm>
            <a:off x="9182809" y="4856159"/>
            <a:ext cx="2520000" cy="1236633"/>
          </a:xfrm>
        </p:spPr>
        <p:txBody>
          <a:bodyPr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rgbClr val="191919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5FD6D98C-43A9-2C46-8BA2-11B0CC601B32}"/>
              </a:ext>
            </a:extLst>
          </p:cNvPr>
          <p:cNvSpPr>
            <a:spLocks noGrp="1"/>
          </p:cNvSpPr>
          <p:nvPr>
            <p:ph type="body" sz="half" idx="26" hasCustomPrompt="1"/>
          </p:nvPr>
        </p:nvSpPr>
        <p:spPr>
          <a:xfrm>
            <a:off x="9182809" y="1236387"/>
            <a:ext cx="2520000" cy="771324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2000" b="1" cap="all" baseline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text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6AE8A3F-5B79-E84A-ABA2-5B368E0A67AC}"/>
              </a:ext>
            </a:extLst>
          </p:cNvPr>
          <p:cNvGrpSpPr/>
          <p:nvPr userDrawn="1"/>
        </p:nvGrpSpPr>
        <p:grpSpPr>
          <a:xfrm>
            <a:off x="5965074" y="6408183"/>
            <a:ext cx="261852" cy="261455"/>
            <a:chOff x="1830159" y="2890771"/>
            <a:chExt cx="588560" cy="587668"/>
          </a:xfrm>
          <a:solidFill>
            <a:srgbClr val="191919"/>
          </a:solidFill>
        </p:grpSpPr>
        <p:sp>
          <p:nvSpPr>
            <p:cNvPr id="27" name="Rectangle 15">
              <a:extLst>
                <a:ext uri="{FF2B5EF4-FFF2-40B4-BE49-F238E27FC236}">
                  <a16:creationId xmlns:a16="http://schemas.microsoft.com/office/drawing/2014/main" id="{37CB962F-F634-7446-BBC5-D6759E69F87A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tangle 15">
              <a:extLst>
                <a:ext uri="{FF2B5EF4-FFF2-40B4-BE49-F238E27FC236}">
                  <a16:creationId xmlns:a16="http://schemas.microsoft.com/office/drawing/2014/main" id="{BD5B665B-5338-2F4B-80C1-9547E1926251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0" name="Footer Placeholder 5">
            <a:extLst>
              <a:ext uri="{FF2B5EF4-FFF2-40B4-BE49-F238E27FC236}">
                <a16:creationId xmlns:a16="http://schemas.microsoft.com/office/drawing/2014/main" id="{23CA886E-2B97-4A73-B4E6-E031E47292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226219"/>
            <a:ext cx="10515600" cy="365125"/>
          </a:xfrm>
        </p:spPr>
        <p:txBody>
          <a:bodyPr lIns="0"/>
          <a:lstStyle/>
          <a:p>
            <a:endParaRPr lang="en-US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FBFE3C0D-44E6-47C0-9FF7-614FD2676F8B}"/>
              </a:ext>
            </a:extLst>
          </p:cNvPr>
          <p:cNvSpPr/>
          <p:nvPr userDrawn="1"/>
        </p:nvSpPr>
        <p:spPr>
          <a:xfrm>
            <a:off x="483660" y="2063899"/>
            <a:ext cx="2520000" cy="252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EB1BAFEA-3FA7-4998-9B05-8B2F0072B710}"/>
              </a:ext>
            </a:extLst>
          </p:cNvPr>
          <p:cNvSpPr/>
          <p:nvPr userDrawn="1"/>
        </p:nvSpPr>
        <p:spPr>
          <a:xfrm>
            <a:off x="3383495" y="2063899"/>
            <a:ext cx="2520000" cy="252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FF6EF648-A10C-4111-82A7-F94E1E47E242}"/>
              </a:ext>
            </a:extLst>
          </p:cNvPr>
          <p:cNvSpPr/>
          <p:nvPr userDrawn="1"/>
        </p:nvSpPr>
        <p:spPr>
          <a:xfrm>
            <a:off x="6284938" y="2065611"/>
            <a:ext cx="2520000" cy="252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/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BDFAD854-CA0D-4E59-BDE8-2D4A4B23CB94}"/>
              </a:ext>
            </a:extLst>
          </p:cNvPr>
          <p:cNvSpPr/>
          <p:nvPr userDrawn="1"/>
        </p:nvSpPr>
        <p:spPr>
          <a:xfrm>
            <a:off x="9176275" y="2065611"/>
            <a:ext cx="2520000" cy="2520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/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EFA419DD-7F3B-4189-9F05-719C3B70A063}"/>
              </a:ext>
            </a:extLst>
          </p:cNvPr>
          <p:cNvSpPr>
            <a:spLocks noGrp="1"/>
          </p:cNvSpPr>
          <p:nvPr>
            <p:ph type="body" sz="half" idx="27" hasCustomPrompt="1"/>
          </p:nvPr>
        </p:nvSpPr>
        <p:spPr>
          <a:xfrm>
            <a:off x="6546554" y="2846692"/>
            <a:ext cx="1990560" cy="990202"/>
          </a:xfrm>
        </p:spPr>
        <p:txBody>
          <a:bodyPr anchor="ctr">
            <a:noAutofit/>
          </a:bodyPr>
          <a:lstStyle>
            <a:lvl1pPr marL="0" indent="0" algn="ctr">
              <a:buNone/>
              <a:defRPr sz="2800" b="1" cap="all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date/year</a:t>
            </a:r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A1A63BFD-C66E-46B7-B69C-BC2A681620CF}"/>
              </a:ext>
            </a:extLst>
          </p:cNvPr>
          <p:cNvSpPr>
            <a:spLocks noGrp="1"/>
          </p:cNvSpPr>
          <p:nvPr>
            <p:ph type="body" sz="half" idx="28" hasCustomPrompt="1"/>
          </p:nvPr>
        </p:nvSpPr>
        <p:spPr>
          <a:xfrm>
            <a:off x="3650163" y="2846692"/>
            <a:ext cx="1990560" cy="990202"/>
          </a:xfrm>
        </p:spPr>
        <p:txBody>
          <a:bodyPr anchor="ctr">
            <a:noAutofit/>
          </a:bodyPr>
          <a:lstStyle>
            <a:lvl1pPr marL="0" indent="0" algn="ctr">
              <a:buNone/>
              <a:defRPr sz="2800" b="1" cap="all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date/year</a:t>
            </a: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B948608D-18F7-41FF-93DB-7A77B2A8280D}"/>
              </a:ext>
            </a:extLst>
          </p:cNvPr>
          <p:cNvSpPr>
            <a:spLocks noGrp="1"/>
          </p:cNvSpPr>
          <p:nvPr>
            <p:ph type="body" sz="half" idx="29" hasCustomPrompt="1"/>
          </p:nvPr>
        </p:nvSpPr>
        <p:spPr>
          <a:xfrm>
            <a:off x="748380" y="2846692"/>
            <a:ext cx="1990560" cy="990202"/>
          </a:xfrm>
        </p:spPr>
        <p:txBody>
          <a:bodyPr anchor="ctr">
            <a:noAutofit/>
          </a:bodyPr>
          <a:lstStyle>
            <a:lvl1pPr marL="0" indent="0" algn="ctr">
              <a:buNone/>
              <a:defRPr sz="2800" b="1" cap="all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date/year</a:t>
            </a:r>
          </a:p>
        </p:txBody>
      </p: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190DECF6-1357-4338-8CBF-423CACCD6427}"/>
              </a:ext>
            </a:extLst>
          </p:cNvPr>
          <p:cNvSpPr>
            <a:spLocks noGrp="1"/>
          </p:cNvSpPr>
          <p:nvPr>
            <p:ph type="body" sz="half" idx="30" hasCustomPrompt="1"/>
          </p:nvPr>
        </p:nvSpPr>
        <p:spPr>
          <a:xfrm>
            <a:off x="9445744" y="2846692"/>
            <a:ext cx="1990560" cy="990202"/>
          </a:xfrm>
        </p:spPr>
        <p:txBody>
          <a:bodyPr anchor="ctr">
            <a:noAutofit/>
          </a:bodyPr>
          <a:lstStyle>
            <a:lvl1pPr marL="0" indent="0" algn="ctr">
              <a:buNone/>
              <a:defRPr sz="2800" b="1" cap="all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date/year</a:t>
            </a:r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2ABEBCFA-A15B-403A-A7F0-08D3A5C8D1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64534" y="2251668"/>
            <a:ext cx="372819" cy="424157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9B66B8D4-137C-4A1B-BD63-28E8D9475A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59304" y="2242809"/>
            <a:ext cx="372819" cy="424157"/>
          </a:xfrm>
          <a:prstGeom prst="rect">
            <a:avLst/>
          </a:prstGeom>
        </p:spPr>
      </p:pic>
      <p:pic>
        <p:nvPicPr>
          <p:cNvPr id="32" name="Graphic 31">
            <a:extLst>
              <a:ext uri="{FF2B5EF4-FFF2-40B4-BE49-F238E27FC236}">
                <a16:creationId xmlns:a16="http://schemas.microsoft.com/office/drawing/2014/main" id="{9E6858E7-8692-4EEE-9F8E-9E83F93E964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55424" y="2242809"/>
            <a:ext cx="372819" cy="424157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4F9C5B75-ED5A-4412-9D6C-D19D08BE57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49865" y="2244021"/>
            <a:ext cx="372819" cy="424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81616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eature Content C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1DDD94-83AE-854D-AA85-D405490CA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/>
          <a:lstStyle>
            <a:lvl1pPr>
              <a:defRPr cap="all" baseline="0"/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868D98-9614-6F4D-9879-BC271C28C5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8" y="226219"/>
            <a:ext cx="4493157" cy="365125"/>
          </a:xfrm>
        </p:spPr>
        <p:txBody>
          <a:bodyPr lIns="0"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6A226-FB73-094F-8B9B-9EE2B6DCCC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CA145011-7FA3-984C-AE83-0C0F5CC8BB4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77557" y="408781"/>
            <a:ext cx="1939901" cy="1939901"/>
          </a:xfrm>
          <a:prstGeom prst="ellipse">
            <a:avLst/>
          </a:prstGeom>
          <a:pattFill prst="pct5">
            <a:fgClr>
              <a:schemeClr val="accent1"/>
            </a:fgClr>
            <a:bgClr>
              <a:schemeClr val="bg1">
                <a:lumMod val="95000"/>
              </a:schemeClr>
            </a:bgClr>
          </a:patt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 rIns="0"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to add pictur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A1AE407-72D0-5046-9B81-D62F6C17D2AA}"/>
              </a:ext>
            </a:extLst>
          </p:cNvPr>
          <p:cNvCxnSpPr>
            <a:cxnSpLocks/>
          </p:cNvCxnSpPr>
          <p:nvPr userDrawn="1"/>
        </p:nvCxnSpPr>
        <p:spPr>
          <a:xfrm>
            <a:off x="838199" y="6291060"/>
            <a:ext cx="4492167" cy="0"/>
          </a:xfrm>
          <a:prstGeom prst="line">
            <a:avLst/>
          </a:prstGeom>
          <a:ln w="19050">
            <a:solidFill>
              <a:srgbClr val="1919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CCD2AD6B-05C4-C64C-B497-6A479AACE19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177558" y="2442643"/>
            <a:ext cx="1939901" cy="1939901"/>
          </a:xfrm>
          <a:prstGeom prst="ellipse">
            <a:avLst/>
          </a:prstGeom>
          <a:pattFill prst="pct5">
            <a:fgClr>
              <a:schemeClr val="accent1"/>
            </a:fgClr>
            <a:bgClr>
              <a:schemeClr val="bg1">
                <a:lumMod val="95000"/>
              </a:schemeClr>
            </a:bgClr>
          </a:patt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 rIns="0"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B3663C09-272F-4240-B809-270061F1A0B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177557" y="4476506"/>
            <a:ext cx="1939901" cy="1939901"/>
          </a:xfrm>
          <a:prstGeom prst="ellipse">
            <a:avLst/>
          </a:prstGeom>
          <a:pattFill prst="pct5">
            <a:fgClr>
              <a:schemeClr val="accent1"/>
            </a:fgClr>
            <a:bgClr>
              <a:schemeClr val="bg1">
                <a:lumMod val="95000"/>
              </a:schemeClr>
            </a:bgClr>
          </a:pattFill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</p:spPr>
        <p:txBody>
          <a:bodyPr rIns="0"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3F5883B-F97D-A647-A0E1-E211D01E5B2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35365" y="1257006"/>
            <a:ext cx="2718433" cy="778014"/>
          </a:xfrm>
        </p:spPr>
        <p:txBody>
          <a:bodyPr lIns="0"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latin typeface="+mj-lt"/>
              </a:defRPr>
            </a:lvl1pPr>
            <a:lvl2pPr>
              <a:defRPr sz="1800">
                <a:latin typeface="+mj-lt"/>
              </a:defRPr>
            </a:lvl2pPr>
            <a:lvl3pPr>
              <a:defRPr sz="1800">
                <a:latin typeface="+mj-lt"/>
              </a:defRPr>
            </a:lvl3pPr>
            <a:lvl4pPr>
              <a:defRPr sz="1800">
                <a:latin typeface="+mj-lt"/>
              </a:defRPr>
            </a:lvl4pPr>
            <a:lvl5pPr>
              <a:defRPr sz="1800">
                <a:latin typeface="+mj-lt"/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5CB984C0-109A-354A-A45A-EB614489B9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641716" y="666858"/>
            <a:ext cx="2718433" cy="603675"/>
          </a:xfrm>
        </p:spPr>
        <p:txBody>
          <a:bodyPr lIns="0" anchor="b">
            <a:noAutofit/>
          </a:bodyPr>
          <a:lstStyle>
            <a:lvl1pPr marL="0" indent="0">
              <a:lnSpc>
                <a:spcPct val="100000"/>
              </a:lnSpc>
              <a:buNone/>
              <a:defRPr sz="1800" b="1" cap="all" baseline="0">
                <a:solidFill>
                  <a:schemeClr val="accent1"/>
                </a:solidFill>
                <a:latin typeface="+mj-lt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11B5EC56-491C-9F40-A23C-372168501A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41716" y="3337267"/>
            <a:ext cx="2718433" cy="778014"/>
          </a:xfrm>
        </p:spPr>
        <p:txBody>
          <a:bodyPr lIns="0"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latin typeface="+mj-lt"/>
              </a:defRPr>
            </a:lvl1pPr>
            <a:lvl2pPr>
              <a:defRPr sz="1800">
                <a:latin typeface="+mj-lt"/>
              </a:defRPr>
            </a:lvl2pPr>
            <a:lvl3pPr>
              <a:defRPr sz="1800">
                <a:latin typeface="+mj-lt"/>
              </a:defRPr>
            </a:lvl3pPr>
            <a:lvl4pPr>
              <a:defRPr sz="1800">
                <a:latin typeface="+mj-lt"/>
              </a:defRPr>
            </a:lvl4pPr>
            <a:lvl5pPr>
              <a:defRPr sz="1800">
                <a:latin typeface="+mj-lt"/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63F525C4-E69A-E640-B82C-80329105C82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48067" y="2788832"/>
            <a:ext cx="2718433" cy="561962"/>
          </a:xfrm>
        </p:spPr>
        <p:txBody>
          <a:bodyPr lIns="0" anchor="b">
            <a:noAutofit/>
          </a:bodyPr>
          <a:lstStyle>
            <a:lvl1pPr marL="0" indent="0">
              <a:lnSpc>
                <a:spcPct val="100000"/>
              </a:lnSpc>
              <a:buNone/>
              <a:defRPr sz="1800" b="1" cap="all" baseline="0">
                <a:solidFill>
                  <a:schemeClr val="accent1"/>
                </a:solidFill>
                <a:latin typeface="+mj-lt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275CE9CA-A335-764D-B5FB-EAEEFEBD095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629014" y="5342523"/>
            <a:ext cx="2718433" cy="778014"/>
          </a:xfrm>
        </p:spPr>
        <p:txBody>
          <a:bodyPr lIns="0"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latin typeface="+mj-lt"/>
              </a:defRPr>
            </a:lvl1pPr>
            <a:lvl2pPr>
              <a:defRPr sz="1800">
                <a:latin typeface="+mj-lt"/>
              </a:defRPr>
            </a:lvl2pPr>
            <a:lvl3pPr>
              <a:defRPr sz="1800">
                <a:latin typeface="+mj-lt"/>
              </a:defRPr>
            </a:lvl3pPr>
            <a:lvl4pPr>
              <a:defRPr sz="1800">
                <a:latin typeface="+mj-lt"/>
              </a:defRPr>
            </a:lvl4pPr>
            <a:lvl5pPr>
              <a:defRPr sz="1800">
                <a:latin typeface="+mj-lt"/>
              </a:defRPr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4EC2FE78-D423-DD48-AD15-D39DC6107C0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635365" y="4836403"/>
            <a:ext cx="2718433" cy="519647"/>
          </a:xfrm>
        </p:spPr>
        <p:txBody>
          <a:bodyPr lIns="0" anchor="b">
            <a:noAutofit/>
          </a:bodyPr>
          <a:lstStyle>
            <a:lvl1pPr marL="0" indent="0">
              <a:lnSpc>
                <a:spcPct val="100000"/>
              </a:lnSpc>
              <a:buNone/>
              <a:defRPr sz="1800" b="1" cap="all" baseline="0">
                <a:solidFill>
                  <a:schemeClr val="accent1"/>
                </a:solidFill>
                <a:latin typeface="+mj-lt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01BE9EA0-F4D1-AB4E-B546-28347340E8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1" y="681037"/>
            <a:ext cx="4486414" cy="1177811"/>
          </a:xfrm>
        </p:spPr>
        <p:txBody>
          <a:bodyPr lIns="0" anchor="b">
            <a:normAutofit/>
          </a:bodyPr>
          <a:lstStyle>
            <a:lvl1pPr>
              <a:defRPr sz="3600"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B61547-4B93-4A94-8302-B5638086B23D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831852" y="1928813"/>
            <a:ext cx="4506912" cy="4191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17D91591-8D11-4C92-8231-6229C5D63B3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397320" y="989124"/>
            <a:ext cx="167686" cy="190780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EB1B2CC2-8CAD-4719-9AC1-F5652AB8A46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397320" y="3064812"/>
            <a:ext cx="167686" cy="190780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3EB6BEC9-FD4A-4A16-8295-3605974531E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397320" y="5085636"/>
            <a:ext cx="167686" cy="190780"/>
          </a:xfrm>
          <a:prstGeom prst="rect">
            <a:avLst/>
          </a:prstGeom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600A3E73-A578-40B3-9677-E5DE67E8CCAB}"/>
              </a:ext>
            </a:extLst>
          </p:cNvPr>
          <p:cNvGrpSpPr/>
          <p:nvPr userDrawn="1"/>
        </p:nvGrpSpPr>
        <p:grpSpPr>
          <a:xfrm>
            <a:off x="5965074" y="6408183"/>
            <a:ext cx="261852" cy="261455"/>
            <a:chOff x="1830159" y="2890771"/>
            <a:chExt cx="588560" cy="587668"/>
          </a:xfrm>
          <a:solidFill>
            <a:schemeClr val="tx2"/>
          </a:solidFill>
        </p:grpSpPr>
        <p:sp>
          <p:nvSpPr>
            <p:cNvPr id="31" name="Rectangle 15">
              <a:extLst>
                <a:ext uri="{FF2B5EF4-FFF2-40B4-BE49-F238E27FC236}">
                  <a16:creationId xmlns:a16="http://schemas.microsoft.com/office/drawing/2014/main" id="{ACB6FF82-66C9-4E9D-91C9-6660CC54A9E7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tangle 15">
              <a:extLst>
                <a:ext uri="{FF2B5EF4-FFF2-40B4-BE49-F238E27FC236}">
                  <a16:creationId xmlns:a16="http://schemas.microsoft.com/office/drawing/2014/main" id="{103669D5-21EE-4529-A004-3A78A2F13958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669797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 Slide B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5197D6-0424-E841-8E7C-5CE7BCB142C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839984"/>
            <a:ext cx="10521950" cy="413781"/>
          </a:xfrm>
        </p:spPr>
        <p:txBody>
          <a:bodyPr lIns="0" anchor="t">
            <a:normAutofit/>
          </a:bodyPr>
          <a:lstStyle>
            <a:lvl1pPr marL="0" indent="0">
              <a:buNone/>
              <a:defRPr sz="1800" b="0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1DDD94-83AE-854D-AA85-D405490CA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868D98-9614-6F4D-9879-BC271C28C5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9" y="226219"/>
            <a:ext cx="5071947" cy="365125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6A226-FB73-094F-8B9B-9EE2B6DCCC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B41BD39-6B4C-1B43-A698-FFB5AF7609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631676"/>
            <a:ext cx="10521950" cy="3240000"/>
          </a:xfrm>
        </p:spPr>
        <p:txBody>
          <a:bodyPr lIns="0" anchor="ctr">
            <a:normAutofit/>
          </a:bodyPr>
          <a:lstStyle>
            <a:lvl1pPr>
              <a:defRPr sz="48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add text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5DC2A0D-CE33-47D4-842E-3D33728E99FC}"/>
              </a:ext>
            </a:extLst>
          </p:cNvPr>
          <p:cNvGrpSpPr/>
          <p:nvPr userDrawn="1"/>
        </p:nvGrpSpPr>
        <p:grpSpPr>
          <a:xfrm>
            <a:off x="5965074" y="6408183"/>
            <a:ext cx="261852" cy="261455"/>
            <a:chOff x="1830159" y="2890771"/>
            <a:chExt cx="588560" cy="587668"/>
          </a:xfrm>
          <a:solidFill>
            <a:schemeClr val="bg1"/>
          </a:solidFill>
        </p:grpSpPr>
        <p:sp>
          <p:nvSpPr>
            <p:cNvPr id="13" name="Rectangle 15">
              <a:extLst>
                <a:ext uri="{FF2B5EF4-FFF2-40B4-BE49-F238E27FC236}">
                  <a16:creationId xmlns:a16="http://schemas.microsoft.com/office/drawing/2014/main" id="{5C90CF41-46ED-4F4F-ACF9-349FD35B7369}"/>
                </a:ext>
              </a:extLst>
            </p:cNvPr>
            <p:cNvSpPr/>
            <p:nvPr userDrawn="1"/>
          </p:nvSpPr>
          <p:spPr>
            <a:xfrm>
              <a:off x="2111048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B8A31CF-B076-4320-BD9F-15400D000296}"/>
                </a:ext>
              </a:extLst>
            </p:cNvPr>
            <p:cNvSpPr/>
            <p:nvPr userDrawn="1"/>
          </p:nvSpPr>
          <p:spPr>
            <a:xfrm rot="10800000">
              <a:off x="1830159" y="2890771"/>
              <a:ext cx="307671" cy="587668"/>
            </a:xfrm>
            <a:custGeom>
              <a:avLst/>
              <a:gdLst>
                <a:gd name="connsiteX0" fmla="*/ 0 w 1848465"/>
                <a:gd name="connsiteY0" fmla="*/ 0 h 4521200"/>
                <a:gd name="connsiteX1" fmla="*/ 1848465 w 1848465"/>
                <a:gd name="connsiteY1" fmla="*/ 0 h 4521200"/>
                <a:gd name="connsiteX2" fmla="*/ 1848465 w 1848465"/>
                <a:gd name="connsiteY2" fmla="*/ 4521200 h 4521200"/>
                <a:gd name="connsiteX3" fmla="*/ 0 w 1848465"/>
                <a:gd name="connsiteY3" fmla="*/ 4521200 h 4521200"/>
                <a:gd name="connsiteX4" fmla="*/ 0 w 1848465"/>
                <a:gd name="connsiteY4" fmla="*/ 0 h 4521200"/>
                <a:gd name="connsiteX0" fmla="*/ 176980 w 2025445"/>
                <a:gd name="connsiteY0" fmla="*/ 0 h 4521200"/>
                <a:gd name="connsiteX1" fmla="*/ 2025445 w 2025445"/>
                <a:gd name="connsiteY1" fmla="*/ 0 h 4521200"/>
                <a:gd name="connsiteX2" fmla="*/ 2025445 w 2025445"/>
                <a:gd name="connsiteY2" fmla="*/ 4521200 h 4521200"/>
                <a:gd name="connsiteX3" fmla="*/ 0 w 2025445"/>
                <a:gd name="connsiteY3" fmla="*/ 3292168 h 4521200"/>
                <a:gd name="connsiteX4" fmla="*/ 176980 w 2025445"/>
                <a:gd name="connsiteY4" fmla="*/ 0 h 4521200"/>
                <a:gd name="connsiteX0" fmla="*/ 176980 w 2025445"/>
                <a:gd name="connsiteY0" fmla="*/ 0 h 3685458"/>
                <a:gd name="connsiteX1" fmla="*/ 2025445 w 2025445"/>
                <a:gd name="connsiteY1" fmla="*/ 0 h 3685458"/>
                <a:gd name="connsiteX2" fmla="*/ 393290 w 2025445"/>
                <a:gd name="connsiteY2" fmla="*/ 3685458 h 3685458"/>
                <a:gd name="connsiteX3" fmla="*/ 0 w 2025445"/>
                <a:gd name="connsiteY3" fmla="*/ 3292168 h 3685458"/>
                <a:gd name="connsiteX4" fmla="*/ 176980 w 2025445"/>
                <a:gd name="connsiteY4" fmla="*/ 0 h 3685458"/>
                <a:gd name="connsiteX0" fmla="*/ 176980 w 1533832"/>
                <a:gd name="connsiteY0" fmla="*/ 0 h 3685458"/>
                <a:gd name="connsiteX1" fmla="*/ 1533832 w 1533832"/>
                <a:gd name="connsiteY1" fmla="*/ 1474839 h 3685458"/>
                <a:gd name="connsiteX2" fmla="*/ 393290 w 1533832"/>
                <a:gd name="connsiteY2" fmla="*/ 3685458 h 3685458"/>
                <a:gd name="connsiteX3" fmla="*/ 0 w 1533832"/>
                <a:gd name="connsiteY3" fmla="*/ 3292168 h 3685458"/>
                <a:gd name="connsiteX4" fmla="*/ 176980 w 1533832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647723"/>
                <a:gd name="connsiteY0" fmla="*/ 0 h 3685458"/>
                <a:gd name="connsiteX1" fmla="*/ 1533832 w 1647723"/>
                <a:gd name="connsiteY1" fmla="*/ 1474839 h 3685458"/>
                <a:gd name="connsiteX2" fmla="*/ 393290 w 1647723"/>
                <a:gd name="connsiteY2" fmla="*/ 3685458 h 3685458"/>
                <a:gd name="connsiteX3" fmla="*/ 0 w 1647723"/>
                <a:gd name="connsiteY3" fmla="*/ 3292168 h 3685458"/>
                <a:gd name="connsiteX4" fmla="*/ 176980 w 1647723"/>
                <a:gd name="connsiteY4" fmla="*/ 0 h 3685458"/>
                <a:gd name="connsiteX0" fmla="*/ 176980 w 1583368"/>
                <a:gd name="connsiteY0" fmla="*/ 0 h 3685458"/>
                <a:gd name="connsiteX1" fmla="*/ 1533832 w 1583368"/>
                <a:gd name="connsiteY1" fmla="*/ 1474839 h 3685458"/>
                <a:gd name="connsiteX2" fmla="*/ 393290 w 1583368"/>
                <a:gd name="connsiteY2" fmla="*/ 3685458 h 3685458"/>
                <a:gd name="connsiteX3" fmla="*/ 0 w 1583368"/>
                <a:gd name="connsiteY3" fmla="*/ 3292168 h 3685458"/>
                <a:gd name="connsiteX4" fmla="*/ 176980 w 1583368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37799"/>
                <a:gd name="connsiteY0" fmla="*/ 0 h 3685458"/>
                <a:gd name="connsiteX1" fmla="*/ 1533832 w 1637799"/>
                <a:gd name="connsiteY1" fmla="*/ 1474839 h 3685458"/>
                <a:gd name="connsiteX2" fmla="*/ 393290 w 1637799"/>
                <a:gd name="connsiteY2" fmla="*/ 3685458 h 3685458"/>
                <a:gd name="connsiteX3" fmla="*/ 0 w 1637799"/>
                <a:gd name="connsiteY3" fmla="*/ 3292168 h 3685458"/>
                <a:gd name="connsiteX4" fmla="*/ 176980 w 1637799"/>
                <a:gd name="connsiteY4" fmla="*/ 0 h 3685458"/>
                <a:gd name="connsiteX0" fmla="*/ 176980 w 1656501"/>
                <a:gd name="connsiteY0" fmla="*/ 0 h 3685458"/>
                <a:gd name="connsiteX1" fmla="*/ 1533832 w 1656501"/>
                <a:gd name="connsiteY1" fmla="*/ 1474839 h 3685458"/>
                <a:gd name="connsiteX2" fmla="*/ 393290 w 1656501"/>
                <a:gd name="connsiteY2" fmla="*/ 3685458 h 3685458"/>
                <a:gd name="connsiteX3" fmla="*/ 0 w 1656501"/>
                <a:gd name="connsiteY3" fmla="*/ 3292168 h 3685458"/>
                <a:gd name="connsiteX4" fmla="*/ 176980 w 1656501"/>
                <a:gd name="connsiteY4" fmla="*/ 0 h 3685458"/>
                <a:gd name="connsiteX0" fmla="*/ 196645 w 1657791"/>
                <a:gd name="connsiteY0" fmla="*/ 0 h 3557638"/>
                <a:gd name="connsiteX1" fmla="*/ 1533832 w 1657791"/>
                <a:gd name="connsiteY1" fmla="*/ 1347019 h 3557638"/>
                <a:gd name="connsiteX2" fmla="*/ 393290 w 1657791"/>
                <a:gd name="connsiteY2" fmla="*/ 3557638 h 3557638"/>
                <a:gd name="connsiteX3" fmla="*/ 0 w 1657791"/>
                <a:gd name="connsiteY3" fmla="*/ 3164348 h 3557638"/>
                <a:gd name="connsiteX4" fmla="*/ 196645 w 1657791"/>
                <a:gd name="connsiteY4" fmla="*/ 0 h 3557638"/>
                <a:gd name="connsiteX0" fmla="*/ 196645 w 1637799"/>
                <a:gd name="connsiteY0" fmla="*/ 176608 h 3734246"/>
                <a:gd name="connsiteX1" fmla="*/ 786580 w 1637799"/>
                <a:gd name="connsiteY1" fmla="*/ 522375 h 3734246"/>
                <a:gd name="connsiteX2" fmla="*/ 1533832 w 1637799"/>
                <a:gd name="connsiteY2" fmla="*/ 1523627 h 3734246"/>
                <a:gd name="connsiteX3" fmla="*/ 393290 w 1637799"/>
                <a:gd name="connsiteY3" fmla="*/ 3734246 h 3734246"/>
                <a:gd name="connsiteX4" fmla="*/ 0 w 1637799"/>
                <a:gd name="connsiteY4" fmla="*/ 3340956 h 3734246"/>
                <a:gd name="connsiteX5" fmla="*/ 196645 w 1637799"/>
                <a:gd name="connsiteY5" fmla="*/ 176608 h 3734246"/>
                <a:gd name="connsiteX0" fmla="*/ 196645 w 1637799"/>
                <a:gd name="connsiteY0" fmla="*/ 198338 h 3755976"/>
                <a:gd name="connsiteX1" fmla="*/ 865238 w 1637799"/>
                <a:gd name="connsiteY1" fmla="*/ 435950 h 3755976"/>
                <a:gd name="connsiteX2" fmla="*/ 1533832 w 1637799"/>
                <a:gd name="connsiteY2" fmla="*/ 1545357 h 3755976"/>
                <a:gd name="connsiteX3" fmla="*/ 393290 w 1637799"/>
                <a:gd name="connsiteY3" fmla="*/ 3755976 h 3755976"/>
                <a:gd name="connsiteX4" fmla="*/ 0 w 1637799"/>
                <a:gd name="connsiteY4" fmla="*/ 3362686 h 3755976"/>
                <a:gd name="connsiteX5" fmla="*/ 196645 w 1637799"/>
                <a:gd name="connsiteY5" fmla="*/ 198338 h 3755976"/>
                <a:gd name="connsiteX0" fmla="*/ 196645 w 1637799"/>
                <a:gd name="connsiteY0" fmla="*/ 313747 h 3871385"/>
                <a:gd name="connsiteX1" fmla="*/ 580102 w 1637799"/>
                <a:gd name="connsiteY1" fmla="*/ 207230 h 3871385"/>
                <a:gd name="connsiteX2" fmla="*/ 1533832 w 1637799"/>
                <a:gd name="connsiteY2" fmla="*/ 1660766 h 3871385"/>
                <a:gd name="connsiteX3" fmla="*/ 393290 w 1637799"/>
                <a:gd name="connsiteY3" fmla="*/ 3871385 h 3871385"/>
                <a:gd name="connsiteX4" fmla="*/ 0 w 1637799"/>
                <a:gd name="connsiteY4" fmla="*/ 3478095 h 3871385"/>
                <a:gd name="connsiteX5" fmla="*/ 196645 w 1637799"/>
                <a:gd name="connsiteY5" fmla="*/ 313747 h 3871385"/>
                <a:gd name="connsiteX0" fmla="*/ 196645 w 1637799"/>
                <a:gd name="connsiteY0" fmla="*/ 209913 h 3767551"/>
                <a:gd name="connsiteX1" fmla="*/ 580102 w 1637799"/>
                <a:gd name="connsiteY1" fmla="*/ 103396 h 3767551"/>
                <a:gd name="connsiteX2" fmla="*/ 1533832 w 1637799"/>
                <a:gd name="connsiteY2" fmla="*/ 1556932 h 3767551"/>
                <a:gd name="connsiteX3" fmla="*/ 393290 w 1637799"/>
                <a:gd name="connsiteY3" fmla="*/ 3767551 h 3767551"/>
                <a:gd name="connsiteX4" fmla="*/ 0 w 1637799"/>
                <a:gd name="connsiteY4" fmla="*/ 3374261 h 3767551"/>
                <a:gd name="connsiteX5" fmla="*/ 196645 w 1637799"/>
                <a:gd name="connsiteY5" fmla="*/ 209913 h 3767551"/>
                <a:gd name="connsiteX0" fmla="*/ 196645 w 1637799"/>
                <a:gd name="connsiteY0" fmla="*/ 106517 h 3664155"/>
                <a:gd name="connsiteX1" fmla="*/ 580102 w 1637799"/>
                <a:gd name="connsiteY1" fmla="*/ 0 h 3664155"/>
                <a:gd name="connsiteX2" fmla="*/ 1533832 w 1637799"/>
                <a:gd name="connsiteY2" fmla="*/ 1453536 h 3664155"/>
                <a:gd name="connsiteX3" fmla="*/ 393290 w 1637799"/>
                <a:gd name="connsiteY3" fmla="*/ 3664155 h 3664155"/>
                <a:gd name="connsiteX4" fmla="*/ 0 w 1637799"/>
                <a:gd name="connsiteY4" fmla="*/ 3270865 h 3664155"/>
                <a:gd name="connsiteX5" fmla="*/ 196645 w 1637799"/>
                <a:gd name="connsiteY5" fmla="*/ 106517 h 3664155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37799"/>
                <a:gd name="connsiteY0" fmla="*/ 126181 h 3683819"/>
                <a:gd name="connsiteX1" fmla="*/ 226141 w 1637799"/>
                <a:gd name="connsiteY1" fmla="*/ 0 h 3683819"/>
                <a:gd name="connsiteX2" fmla="*/ 1533832 w 1637799"/>
                <a:gd name="connsiteY2" fmla="*/ 1473200 h 3683819"/>
                <a:gd name="connsiteX3" fmla="*/ 393290 w 1637799"/>
                <a:gd name="connsiteY3" fmla="*/ 3683819 h 3683819"/>
                <a:gd name="connsiteX4" fmla="*/ 0 w 1637799"/>
                <a:gd name="connsiteY4" fmla="*/ 3290529 h 3683819"/>
                <a:gd name="connsiteX5" fmla="*/ 196645 w 1637799"/>
                <a:gd name="connsiteY5" fmla="*/ 126181 h 3683819"/>
                <a:gd name="connsiteX0" fmla="*/ 196645 w 1642192"/>
                <a:gd name="connsiteY0" fmla="*/ 126181 h 3683819"/>
                <a:gd name="connsiteX1" fmla="*/ 226141 w 1642192"/>
                <a:gd name="connsiteY1" fmla="*/ 0 h 3683819"/>
                <a:gd name="connsiteX2" fmla="*/ 1533832 w 1642192"/>
                <a:gd name="connsiteY2" fmla="*/ 1473200 h 3683819"/>
                <a:gd name="connsiteX3" fmla="*/ 393290 w 1642192"/>
                <a:gd name="connsiteY3" fmla="*/ 3683819 h 3683819"/>
                <a:gd name="connsiteX4" fmla="*/ 0 w 1642192"/>
                <a:gd name="connsiteY4" fmla="*/ 3290529 h 3683819"/>
                <a:gd name="connsiteX5" fmla="*/ 196645 w 1642192"/>
                <a:gd name="connsiteY5" fmla="*/ 126181 h 3683819"/>
                <a:gd name="connsiteX0" fmla="*/ 196645 w 1665064"/>
                <a:gd name="connsiteY0" fmla="*/ 126181 h 3683819"/>
                <a:gd name="connsiteX1" fmla="*/ 226141 w 1665064"/>
                <a:gd name="connsiteY1" fmla="*/ 0 h 3683819"/>
                <a:gd name="connsiteX2" fmla="*/ 1558412 w 1665064"/>
                <a:gd name="connsiteY2" fmla="*/ 1448620 h 3683819"/>
                <a:gd name="connsiteX3" fmla="*/ 393290 w 1665064"/>
                <a:gd name="connsiteY3" fmla="*/ 3683819 h 3683819"/>
                <a:gd name="connsiteX4" fmla="*/ 0 w 1665064"/>
                <a:gd name="connsiteY4" fmla="*/ 3290529 h 3683819"/>
                <a:gd name="connsiteX5" fmla="*/ 196645 w 1665064"/>
                <a:gd name="connsiteY5" fmla="*/ 126181 h 3683819"/>
                <a:gd name="connsiteX0" fmla="*/ 196645 w 1626959"/>
                <a:gd name="connsiteY0" fmla="*/ 126181 h 3683819"/>
                <a:gd name="connsiteX1" fmla="*/ 226141 w 1626959"/>
                <a:gd name="connsiteY1" fmla="*/ 0 h 3683819"/>
                <a:gd name="connsiteX2" fmla="*/ 1558412 w 1626959"/>
                <a:gd name="connsiteY2" fmla="*/ 1448620 h 3683819"/>
                <a:gd name="connsiteX3" fmla="*/ 393290 w 1626959"/>
                <a:gd name="connsiteY3" fmla="*/ 3683819 h 3683819"/>
                <a:gd name="connsiteX4" fmla="*/ 0 w 1626959"/>
                <a:gd name="connsiteY4" fmla="*/ 3290529 h 3683819"/>
                <a:gd name="connsiteX5" fmla="*/ 196645 w 1626959"/>
                <a:gd name="connsiteY5" fmla="*/ 126181 h 3683819"/>
                <a:gd name="connsiteX0" fmla="*/ 196645 w 1637661"/>
                <a:gd name="connsiteY0" fmla="*/ 126181 h 3683819"/>
                <a:gd name="connsiteX1" fmla="*/ 226141 w 1637661"/>
                <a:gd name="connsiteY1" fmla="*/ 0 h 3683819"/>
                <a:gd name="connsiteX2" fmla="*/ 1558412 w 1637661"/>
                <a:gd name="connsiteY2" fmla="*/ 1448620 h 3683819"/>
                <a:gd name="connsiteX3" fmla="*/ 393290 w 1637661"/>
                <a:gd name="connsiteY3" fmla="*/ 3683819 h 3683819"/>
                <a:gd name="connsiteX4" fmla="*/ 0 w 1637661"/>
                <a:gd name="connsiteY4" fmla="*/ 3290529 h 3683819"/>
                <a:gd name="connsiteX5" fmla="*/ 196645 w 1637661"/>
                <a:gd name="connsiteY5" fmla="*/ 126181 h 3683819"/>
                <a:gd name="connsiteX0" fmla="*/ 196645 w 1637661"/>
                <a:gd name="connsiteY0" fmla="*/ 106516 h 3664154"/>
                <a:gd name="connsiteX1" fmla="*/ 206476 w 1637661"/>
                <a:gd name="connsiteY1" fmla="*/ 0 h 3664154"/>
                <a:gd name="connsiteX2" fmla="*/ 1558412 w 1637661"/>
                <a:gd name="connsiteY2" fmla="*/ 1428955 h 3664154"/>
                <a:gd name="connsiteX3" fmla="*/ 393290 w 1637661"/>
                <a:gd name="connsiteY3" fmla="*/ 3664154 h 3664154"/>
                <a:gd name="connsiteX4" fmla="*/ 0 w 1637661"/>
                <a:gd name="connsiteY4" fmla="*/ 3270864 h 3664154"/>
                <a:gd name="connsiteX5" fmla="*/ 196645 w 1637661"/>
                <a:gd name="connsiteY5" fmla="*/ 106516 h 366415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7661"/>
                <a:gd name="connsiteY0" fmla="*/ 131096 h 3688734"/>
                <a:gd name="connsiteX1" fmla="*/ 206476 w 1637661"/>
                <a:gd name="connsiteY1" fmla="*/ 0 h 3688734"/>
                <a:gd name="connsiteX2" fmla="*/ 1558412 w 1637661"/>
                <a:gd name="connsiteY2" fmla="*/ 1453535 h 3688734"/>
                <a:gd name="connsiteX3" fmla="*/ 393290 w 1637661"/>
                <a:gd name="connsiteY3" fmla="*/ 3688734 h 3688734"/>
                <a:gd name="connsiteX4" fmla="*/ 0 w 1637661"/>
                <a:gd name="connsiteY4" fmla="*/ 3295444 h 3688734"/>
                <a:gd name="connsiteX5" fmla="*/ 196645 w 1637661"/>
                <a:gd name="connsiteY5" fmla="*/ 131096 h 3688734"/>
                <a:gd name="connsiteX0" fmla="*/ 196645 w 1638781"/>
                <a:gd name="connsiteY0" fmla="*/ 131096 h 3713315"/>
                <a:gd name="connsiteX1" fmla="*/ 206476 w 1638781"/>
                <a:gd name="connsiteY1" fmla="*/ 0 h 3713315"/>
                <a:gd name="connsiteX2" fmla="*/ 1558412 w 1638781"/>
                <a:gd name="connsiteY2" fmla="*/ 1453535 h 3713315"/>
                <a:gd name="connsiteX3" fmla="*/ 412955 w 1638781"/>
                <a:gd name="connsiteY3" fmla="*/ 3713315 h 3713315"/>
                <a:gd name="connsiteX4" fmla="*/ 0 w 1638781"/>
                <a:gd name="connsiteY4" fmla="*/ 3295444 h 3713315"/>
                <a:gd name="connsiteX5" fmla="*/ 196645 w 1638781"/>
                <a:gd name="connsiteY5" fmla="*/ 131096 h 3713315"/>
                <a:gd name="connsiteX0" fmla="*/ 196645 w 1637983"/>
                <a:gd name="connsiteY0" fmla="*/ 131096 h 3713315"/>
                <a:gd name="connsiteX1" fmla="*/ 206476 w 1637983"/>
                <a:gd name="connsiteY1" fmla="*/ 0 h 3713315"/>
                <a:gd name="connsiteX2" fmla="*/ 1558412 w 1637983"/>
                <a:gd name="connsiteY2" fmla="*/ 1453535 h 3713315"/>
                <a:gd name="connsiteX3" fmla="*/ 412955 w 1637983"/>
                <a:gd name="connsiteY3" fmla="*/ 3713315 h 3713315"/>
                <a:gd name="connsiteX4" fmla="*/ 0 w 1637983"/>
                <a:gd name="connsiteY4" fmla="*/ 3295444 h 3713315"/>
                <a:gd name="connsiteX5" fmla="*/ 196645 w 1637983"/>
                <a:gd name="connsiteY5" fmla="*/ 131096 h 3713315"/>
                <a:gd name="connsiteX0" fmla="*/ 196645 w 1637720"/>
                <a:gd name="connsiteY0" fmla="*/ 131096 h 3713315"/>
                <a:gd name="connsiteX1" fmla="*/ 206476 w 1637720"/>
                <a:gd name="connsiteY1" fmla="*/ 0 h 3713315"/>
                <a:gd name="connsiteX2" fmla="*/ 1558412 w 1637720"/>
                <a:gd name="connsiteY2" fmla="*/ 1453535 h 3713315"/>
                <a:gd name="connsiteX3" fmla="*/ 412955 w 1637720"/>
                <a:gd name="connsiteY3" fmla="*/ 3713315 h 3713315"/>
                <a:gd name="connsiteX4" fmla="*/ 0 w 1637720"/>
                <a:gd name="connsiteY4" fmla="*/ 3295444 h 3713315"/>
                <a:gd name="connsiteX5" fmla="*/ 196645 w 1637720"/>
                <a:gd name="connsiteY5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58412 w 1639594"/>
                <a:gd name="connsiteY2" fmla="*/ 1453535 h 3713315"/>
                <a:gd name="connsiteX3" fmla="*/ 412955 w 1639594"/>
                <a:gd name="connsiteY3" fmla="*/ 3713315 h 3713315"/>
                <a:gd name="connsiteX4" fmla="*/ 0 w 1639594"/>
                <a:gd name="connsiteY4" fmla="*/ 3295444 h 3713315"/>
                <a:gd name="connsiteX5" fmla="*/ 196645 w 1639594"/>
                <a:gd name="connsiteY5" fmla="*/ 131096 h 3713315"/>
                <a:gd name="connsiteX0" fmla="*/ 196645 w 1687560"/>
                <a:gd name="connsiteY0" fmla="*/ 131096 h 3713315"/>
                <a:gd name="connsiteX1" fmla="*/ 206476 w 1687560"/>
                <a:gd name="connsiteY1" fmla="*/ 0 h 3713315"/>
                <a:gd name="connsiteX2" fmla="*/ 1509251 w 1687560"/>
                <a:gd name="connsiteY2" fmla="*/ 1204450 h 3713315"/>
                <a:gd name="connsiteX3" fmla="*/ 1558412 w 1687560"/>
                <a:gd name="connsiteY3" fmla="*/ 1453535 h 3713315"/>
                <a:gd name="connsiteX4" fmla="*/ 412955 w 1687560"/>
                <a:gd name="connsiteY4" fmla="*/ 3713315 h 3713315"/>
                <a:gd name="connsiteX5" fmla="*/ 0 w 1687560"/>
                <a:gd name="connsiteY5" fmla="*/ 3295444 h 3713315"/>
                <a:gd name="connsiteX6" fmla="*/ 196645 w 1687560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509251 w 1639594"/>
                <a:gd name="connsiteY2" fmla="*/ 1204450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835783"/>
                <a:gd name="connsiteY0" fmla="*/ 131096 h 3713315"/>
                <a:gd name="connsiteX1" fmla="*/ 206476 w 1835783"/>
                <a:gd name="connsiteY1" fmla="*/ 0 h 3713315"/>
                <a:gd name="connsiteX2" fmla="*/ 1833716 w 1835783"/>
                <a:gd name="connsiteY2" fmla="*/ 1199534 h 3713315"/>
                <a:gd name="connsiteX3" fmla="*/ 1558412 w 1835783"/>
                <a:gd name="connsiteY3" fmla="*/ 1453535 h 3713315"/>
                <a:gd name="connsiteX4" fmla="*/ 412955 w 1835783"/>
                <a:gd name="connsiteY4" fmla="*/ 3713315 h 3713315"/>
                <a:gd name="connsiteX5" fmla="*/ 0 w 1835783"/>
                <a:gd name="connsiteY5" fmla="*/ 3295444 h 3713315"/>
                <a:gd name="connsiteX6" fmla="*/ 196645 w 1835783"/>
                <a:gd name="connsiteY6" fmla="*/ 131096 h 3713315"/>
                <a:gd name="connsiteX0" fmla="*/ 196645 w 1834713"/>
                <a:gd name="connsiteY0" fmla="*/ 131096 h 3713315"/>
                <a:gd name="connsiteX1" fmla="*/ 206476 w 1834713"/>
                <a:gd name="connsiteY1" fmla="*/ 0 h 3713315"/>
                <a:gd name="connsiteX2" fmla="*/ 1833716 w 1834713"/>
                <a:gd name="connsiteY2" fmla="*/ 1199534 h 3713315"/>
                <a:gd name="connsiteX3" fmla="*/ 1558412 w 1834713"/>
                <a:gd name="connsiteY3" fmla="*/ 1453535 h 3713315"/>
                <a:gd name="connsiteX4" fmla="*/ 412955 w 1834713"/>
                <a:gd name="connsiteY4" fmla="*/ 3713315 h 3713315"/>
                <a:gd name="connsiteX5" fmla="*/ 0 w 1834713"/>
                <a:gd name="connsiteY5" fmla="*/ 3295444 h 3713315"/>
                <a:gd name="connsiteX6" fmla="*/ 196645 w 1834713"/>
                <a:gd name="connsiteY6" fmla="*/ 131096 h 3713315"/>
                <a:gd name="connsiteX0" fmla="*/ 196645 w 1659654"/>
                <a:gd name="connsiteY0" fmla="*/ 131096 h 3713315"/>
                <a:gd name="connsiteX1" fmla="*/ 206476 w 1659654"/>
                <a:gd name="connsiteY1" fmla="*/ 0 h 3713315"/>
                <a:gd name="connsiteX2" fmla="*/ 1656735 w 1659654"/>
                <a:gd name="connsiteY2" fmla="*/ 1327354 h 3713315"/>
                <a:gd name="connsiteX3" fmla="*/ 1558412 w 1659654"/>
                <a:gd name="connsiteY3" fmla="*/ 1453535 h 3713315"/>
                <a:gd name="connsiteX4" fmla="*/ 412955 w 1659654"/>
                <a:gd name="connsiteY4" fmla="*/ 3713315 h 3713315"/>
                <a:gd name="connsiteX5" fmla="*/ 0 w 1659654"/>
                <a:gd name="connsiteY5" fmla="*/ 3295444 h 3713315"/>
                <a:gd name="connsiteX6" fmla="*/ 196645 w 1659654"/>
                <a:gd name="connsiteY6" fmla="*/ 131096 h 3713315"/>
                <a:gd name="connsiteX0" fmla="*/ 196645 w 1656735"/>
                <a:gd name="connsiteY0" fmla="*/ 131096 h 3713315"/>
                <a:gd name="connsiteX1" fmla="*/ 206476 w 1656735"/>
                <a:gd name="connsiteY1" fmla="*/ 0 h 3713315"/>
                <a:gd name="connsiteX2" fmla="*/ 1656735 w 1656735"/>
                <a:gd name="connsiteY2" fmla="*/ 1327354 h 3713315"/>
                <a:gd name="connsiteX3" fmla="*/ 1558412 w 1656735"/>
                <a:gd name="connsiteY3" fmla="*/ 1453535 h 3713315"/>
                <a:gd name="connsiteX4" fmla="*/ 412955 w 1656735"/>
                <a:gd name="connsiteY4" fmla="*/ 3713315 h 3713315"/>
                <a:gd name="connsiteX5" fmla="*/ 0 w 1656735"/>
                <a:gd name="connsiteY5" fmla="*/ 3295444 h 3713315"/>
                <a:gd name="connsiteX6" fmla="*/ 196645 w 1656735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12490 w 1639594"/>
                <a:gd name="connsiteY2" fmla="*/ 1430593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602658 w 1639594"/>
                <a:gd name="connsiteY2" fmla="*/ 1445342 h 3713315"/>
                <a:gd name="connsiteX3" fmla="*/ 1558412 w 1639594"/>
                <a:gd name="connsiteY3" fmla="*/ 1453535 h 3713315"/>
                <a:gd name="connsiteX4" fmla="*/ 412955 w 1639594"/>
                <a:gd name="connsiteY4" fmla="*/ 3713315 h 3713315"/>
                <a:gd name="connsiteX5" fmla="*/ 0 w 1639594"/>
                <a:gd name="connsiteY5" fmla="*/ 3295444 h 3713315"/>
                <a:gd name="connsiteX6" fmla="*/ 196645 w 1639594"/>
                <a:gd name="connsiteY6" fmla="*/ 131096 h 3713315"/>
                <a:gd name="connsiteX0" fmla="*/ 196645 w 1639594"/>
                <a:gd name="connsiteY0" fmla="*/ 131096 h 3713315"/>
                <a:gd name="connsiteX1" fmla="*/ 206476 w 1639594"/>
                <a:gd name="connsiteY1" fmla="*/ 0 h 3713315"/>
                <a:gd name="connsiteX2" fmla="*/ 1248698 w 1639594"/>
                <a:gd name="connsiteY2" fmla="*/ 1066799 h 3713315"/>
                <a:gd name="connsiteX3" fmla="*/ 1602658 w 1639594"/>
                <a:gd name="connsiteY3" fmla="*/ 1445342 h 3713315"/>
                <a:gd name="connsiteX4" fmla="*/ 1558412 w 1639594"/>
                <a:gd name="connsiteY4" fmla="*/ 1453535 h 3713315"/>
                <a:gd name="connsiteX5" fmla="*/ 412955 w 1639594"/>
                <a:gd name="connsiteY5" fmla="*/ 3713315 h 3713315"/>
                <a:gd name="connsiteX6" fmla="*/ 0 w 1639594"/>
                <a:gd name="connsiteY6" fmla="*/ 3295444 h 3713315"/>
                <a:gd name="connsiteX7" fmla="*/ 196645 w 1639594"/>
                <a:gd name="connsiteY7" fmla="*/ 131096 h 3713315"/>
                <a:gd name="connsiteX0" fmla="*/ 196645 w 2977269"/>
                <a:gd name="connsiteY0" fmla="*/ 131096 h 3713315"/>
                <a:gd name="connsiteX1" fmla="*/ 206476 w 2977269"/>
                <a:gd name="connsiteY1" fmla="*/ 0 h 3713315"/>
                <a:gd name="connsiteX2" fmla="*/ 2954595 w 2977269"/>
                <a:gd name="connsiteY2" fmla="*/ 2408903 h 3713315"/>
                <a:gd name="connsiteX3" fmla="*/ 1602658 w 2977269"/>
                <a:gd name="connsiteY3" fmla="*/ 1445342 h 3713315"/>
                <a:gd name="connsiteX4" fmla="*/ 1558412 w 2977269"/>
                <a:gd name="connsiteY4" fmla="*/ 1453535 h 3713315"/>
                <a:gd name="connsiteX5" fmla="*/ 412955 w 2977269"/>
                <a:gd name="connsiteY5" fmla="*/ 3713315 h 3713315"/>
                <a:gd name="connsiteX6" fmla="*/ 0 w 2977269"/>
                <a:gd name="connsiteY6" fmla="*/ 3295444 h 3713315"/>
                <a:gd name="connsiteX7" fmla="*/ 196645 w 2977269"/>
                <a:gd name="connsiteY7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327356 w 2955662"/>
                <a:gd name="connsiteY2" fmla="*/ 973392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955662"/>
                <a:gd name="connsiteY0" fmla="*/ 131096 h 3713315"/>
                <a:gd name="connsiteX1" fmla="*/ 206476 w 2955662"/>
                <a:gd name="connsiteY1" fmla="*/ 0 h 3713315"/>
                <a:gd name="connsiteX2" fmla="*/ 1288027 w 2955662"/>
                <a:gd name="connsiteY2" fmla="*/ 693173 h 3713315"/>
                <a:gd name="connsiteX3" fmla="*/ 2954595 w 2955662"/>
                <a:gd name="connsiteY3" fmla="*/ 2408903 h 3713315"/>
                <a:gd name="connsiteX4" fmla="*/ 1602658 w 2955662"/>
                <a:gd name="connsiteY4" fmla="*/ 1445342 h 3713315"/>
                <a:gd name="connsiteX5" fmla="*/ 1558412 w 2955662"/>
                <a:gd name="connsiteY5" fmla="*/ 1453535 h 3713315"/>
                <a:gd name="connsiteX6" fmla="*/ 412955 w 2955662"/>
                <a:gd name="connsiteY6" fmla="*/ 3713315 h 3713315"/>
                <a:gd name="connsiteX7" fmla="*/ 0 w 2955662"/>
                <a:gd name="connsiteY7" fmla="*/ 3295444 h 3713315"/>
                <a:gd name="connsiteX8" fmla="*/ 196645 w 2955662"/>
                <a:gd name="connsiteY8" fmla="*/ 131096 h 3713315"/>
                <a:gd name="connsiteX0" fmla="*/ 196645 w 2346809"/>
                <a:gd name="connsiteY0" fmla="*/ 131096 h 3713315"/>
                <a:gd name="connsiteX1" fmla="*/ 206476 w 2346809"/>
                <a:gd name="connsiteY1" fmla="*/ 0 h 3713315"/>
                <a:gd name="connsiteX2" fmla="*/ 1288027 w 2346809"/>
                <a:gd name="connsiteY2" fmla="*/ 693173 h 3713315"/>
                <a:gd name="connsiteX3" fmla="*/ 2344995 w 2346809"/>
                <a:gd name="connsiteY3" fmla="*/ 2792361 h 3713315"/>
                <a:gd name="connsiteX4" fmla="*/ 1602658 w 2346809"/>
                <a:gd name="connsiteY4" fmla="*/ 1445342 h 3713315"/>
                <a:gd name="connsiteX5" fmla="*/ 1558412 w 2346809"/>
                <a:gd name="connsiteY5" fmla="*/ 1453535 h 3713315"/>
                <a:gd name="connsiteX6" fmla="*/ 412955 w 2346809"/>
                <a:gd name="connsiteY6" fmla="*/ 3713315 h 3713315"/>
                <a:gd name="connsiteX7" fmla="*/ 0 w 2346809"/>
                <a:gd name="connsiteY7" fmla="*/ 3295444 h 3713315"/>
                <a:gd name="connsiteX8" fmla="*/ 196645 w 2346809"/>
                <a:gd name="connsiteY8" fmla="*/ 131096 h 3713315"/>
                <a:gd name="connsiteX0" fmla="*/ 196645 w 2344995"/>
                <a:gd name="connsiteY0" fmla="*/ 131096 h 3713315"/>
                <a:gd name="connsiteX1" fmla="*/ 206476 w 2344995"/>
                <a:gd name="connsiteY1" fmla="*/ 0 h 3713315"/>
                <a:gd name="connsiteX2" fmla="*/ 1288027 w 2344995"/>
                <a:gd name="connsiteY2" fmla="*/ 693173 h 3713315"/>
                <a:gd name="connsiteX3" fmla="*/ 2344995 w 2344995"/>
                <a:gd name="connsiteY3" fmla="*/ 2792361 h 3713315"/>
                <a:gd name="connsiteX4" fmla="*/ 1602658 w 2344995"/>
                <a:gd name="connsiteY4" fmla="*/ 1445342 h 3713315"/>
                <a:gd name="connsiteX5" fmla="*/ 1558412 w 2344995"/>
                <a:gd name="connsiteY5" fmla="*/ 1453535 h 3713315"/>
                <a:gd name="connsiteX6" fmla="*/ 412955 w 2344995"/>
                <a:gd name="connsiteY6" fmla="*/ 3713315 h 3713315"/>
                <a:gd name="connsiteX7" fmla="*/ 0 w 2344995"/>
                <a:gd name="connsiteY7" fmla="*/ 3295444 h 3713315"/>
                <a:gd name="connsiteX8" fmla="*/ 196645 w 2344995"/>
                <a:gd name="connsiteY8" fmla="*/ 131096 h 3713315"/>
                <a:gd name="connsiteX0" fmla="*/ 196645 w 2366908"/>
                <a:gd name="connsiteY0" fmla="*/ 131096 h 3713315"/>
                <a:gd name="connsiteX1" fmla="*/ 206476 w 2366908"/>
                <a:gd name="connsiteY1" fmla="*/ 0 h 3713315"/>
                <a:gd name="connsiteX2" fmla="*/ 1288027 w 2366908"/>
                <a:gd name="connsiteY2" fmla="*/ 693173 h 3713315"/>
                <a:gd name="connsiteX3" fmla="*/ 2344995 w 2366908"/>
                <a:gd name="connsiteY3" fmla="*/ 2792361 h 3713315"/>
                <a:gd name="connsiteX4" fmla="*/ 1602658 w 2366908"/>
                <a:gd name="connsiteY4" fmla="*/ 1445342 h 3713315"/>
                <a:gd name="connsiteX5" fmla="*/ 1558412 w 2366908"/>
                <a:gd name="connsiteY5" fmla="*/ 1453535 h 3713315"/>
                <a:gd name="connsiteX6" fmla="*/ 412955 w 2366908"/>
                <a:gd name="connsiteY6" fmla="*/ 3713315 h 3713315"/>
                <a:gd name="connsiteX7" fmla="*/ 0 w 2366908"/>
                <a:gd name="connsiteY7" fmla="*/ 3295444 h 3713315"/>
                <a:gd name="connsiteX8" fmla="*/ 196645 w 2366908"/>
                <a:gd name="connsiteY8" fmla="*/ 131096 h 3713315"/>
                <a:gd name="connsiteX0" fmla="*/ 196645 w 2384897"/>
                <a:gd name="connsiteY0" fmla="*/ 131096 h 3713315"/>
                <a:gd name="connsiteX1" fmla="*/ 206476 w 2384897"/>
                <a:gd name="connsiteY1" fmla="*/ 0 h 3713315"/>
                <a:gd name="connsiteX2" fmla="*/ 1288027 w 2384897"/>
                <a:gd name="connsiteY2" fmla="*/ 693173 h 3713315"/>
                <a:gd name="connsiteX3" fmla="*/ 2344995 w 2384897"/>
                <a:gd name="connsiteY3" fmla="*/ 2792361 h 3713315"/>
                <a:gd name="connsiteX4" fmla="*/ 2109020 w 2384897"/>
                <a:gd name="connsiteY4" fmla="*/ 2713702 h 3713315"/>
                <a:gd name="connsiteX5" fmla="*/ 1602658 w 2384897"/>
                <a:gd name="connsiteY5" fmla="*/ 1445342 h 3713315"/>
                <a:gd name="connsiteX6" fmla="*/ 1558412 w 2384897"/>
                <a:gd name="connsiteY6" fmla="*/ 1453535 h 3713315"/>
                <a:gd name="connsiteX7" fmla="*/ 412955 w 2384897"/>
                <a:gd name="connsiteY7" fmla="*/ 3713315 h 3713315"/>
                <a:gd name="connsiteX8" fmla="*/ 0 w 2384897"/>
                <a:gd name="connsiteY8" fmla="*/ 3295444 h 3713315"/>
                <a:gd name="connsiteX9" fmla="*/ 196645 w 2384897"/>
                <a:gd name="connsiteY9" fmla="*/ 131096 h 3713315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6161"/>
                <a:gd name="connsiteY0" fmla="*/ 131096 h 4514979"/>
                <a:gd name="connsiteX1" fmla="*/ 206476 w 2356161"/>
                <a:gd name="connsiteY1" fmla="*/ 0 h 4514979"/>
                <a:gd name="connsiteX2" fmla="*/ 1288027 w 2356161"/>
                <a:gd name="connsiteY2" fmla="*/ 693173 h 4514979"/>
                <a:gd name="connsiteX3" fmla="*/ 2344995 w 2356161"/>
                <a:gd name="connsiteY3" fmla="*/ 2792361 h 4514979"/>
                <a:gd name="connsiteX4" fmla="*/ 1194620 w 2356161"/>
                <a:gd name="connsiteY4" fmla="*/ 4493341 h 4514979"/>
                <a:gd name="connsiteX5" fmla="*/ 1602658 w 2356161"/>
                <a:gd name="connsiteY5" fmla="*/ 1445342 h 4514979"/>
                <a:gd name="connsiteX6" fmla="*/ 1558412 w 2356161"/>
                <a:gd name="connsiteY6" fmla="*/ 1453535 h 4514979"/>
                <a:gd name="connsiteX7" fmla="*/ 412955 w 2356161"/>
                <a:gd name="connsiteY7" fmla="*/ 3713315 h 4514979"/>
                <a:gd name="connsiteX8" fmla="*/ 0 w 2356161"/>
                <a:gd name="connsiteY8" fmla="*/ 3295444 h 4514979"/>
                <a:gd name="connsiteX9" fmla="*/ 196645 w 2356161"/>
                <a:gd name="connsiteY9" fmla="*/ 131096 h 4514979"/>
                <a:gd name="connsiteX0" fmla="*/ 196645 w 2351394"/>
                <a:gd name="connsiteY0" fmla="*/ 131096 h 4521954"/>
                <a:gd name="connsiteX1" fmla="*/ 206476 w 2351394"/>
                <a:gd name="connsiteY1" fmla="*/ 0 h 4521954"/>
                <a:gd name="connsiteX2" fmla="*/ 1288027 w 2351394"/>
                <a:gd name="connsiteY2" fmla="*/ 693173 h 4521954"/>
                <a:gd name="connsiteX3" fmla="*/ 2344995 w 2351394"/>
                <a:gd name="connsiteY3" fmla="*/ 2792361 h 4521954"/>
                <a:gd name="connsiteX4" fmla="*/ 1194620 w 2351394"/>
                <a:gd name="connsiteY4" fmla="*/ 4493341 h 4521954"/>
                <a:gd name="connsiteX5" fmla="*/ 1602658 w 2351394"/>
                <a:gd name="connsiteY5" fmla="*/ 1445342 h 4521954"/>
                <a:gd name="connsiteX6" fmla="*/ 1558412 w 2351394"/>
                <a:gd name="connsiteY6" fmla="*/ 1453535 h 4521954"/>
                <a:gd name="connsiteX7" fmla="*/ 412955 w 2351394"/>
                <a:gd name="connsiteY7" fmla="*/ 3713315 h 4521954"/>
                <a:gd name="connsiteX8" fmla="*/ 0 w 2351394"/>
                <a:gd name="connsiteY8" fmla="*/ 3295444 h 4521954"/>
                <a:gd name="connsiteX9" fmla="*/ 196645 w 2351394"/>
                <a:gd name="connsiteY9" fmla="*/ 131096 h 4521954"/>
                <a:gd name="connsiteX0" fmla="*/ 196645 w 2351394"/>
                <a:gd name="connsiteY0" fmla="*/ 131096 h 4550838"/>
                <a:gd name="connsiteX1" fmla="*/ 206476 w 2351394"/>
                <a:gd name="connsiteY1" fmla="*/ 0 h 4550838"/>
                <a:gd name="connsiteX2" fmla="*/ 1288027 w 2351394"/>
                <a:gd name="connsiteY2" fmla="*/ 693173 h 4550838"/>
                <a:gd name="connsiteX3" fmla="*/ 2344995 w 2351394"/>
                <a:gd name="connsiteY3" fmla="*/ 2792361 h 4550838"/>
                <a:gd name="connsiteX4" fmla="*/ 1199536 w 2351394"/>
                <a:gd name="connsiteY4" fmla="*/ 4522838 h 4550838"/>
                <a:gd name="connsiteX5" fmla="*/ 1602658 w 2351394"/>
                <a:gd name="connsiteY5" fmla="*/ 1445342 h 4550838"/>
                <a:gd name="connsiteX6" fmla="*/ 1558412 w 2351394"/>
                <a:gd name="connsiteY6" fmla="*/ 1453535 h 4550838"/>
                <a:gd name="connsiteX7" fmla="*/ 412955 w 2351394"/>
                <a:gd name="connsiteY7" fmla="*/ 3713315 h 4550838"/>
                <a:gd name="connsiteX8" fmla="*/ 0 w 2351394"/>
                <a:gd name="connsiteY8" fmla="*/ 3295444 h 4550838"/>
                <a:gd name="connsiteX9" fmla="*/ 196645 w 2351394"/>
                <a:gd name="connsiteY9" fmla="*/ 131096 h 4550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1394"/>
                <a:gd name="connsiteY0" fmla="*/ 131096 h 4522838"/>
                <a:gd name="connsiteX1" fmla="*/ 206476 w 2351394"/>
                <a:gd name="connsiteY1" fmla="*/ 0 h 4522838"/>
                <a:gd name="connsiteX2" fmla="*/ 1288027 w 2351394"/>
                <a:gd name="connsiteY2" fmla="*/ 693173 h 4522838"/>
                <a:gd name="connsiteX3" fmla="*/ 2344995 w 2351394"/>
                <a:gd name="connsiteY3" fmla="*/ 2792361 h 4522838"/>
                <a:gd name="connsiteX4" fmla="*/ 1199536 w 2351394"/>
                <a:gd name="connsiteY4" fmla="*/ 4522838 h 4522838"/>
                <a:gd name="connsiteX5" fmla="*/ 1602658 w 2351394"/>
                <a:gd name="connsiteY5" fmla="*/ 1445342 h 4522838"/>
                <a:gd name="connsiteX6" fmla="*/ 1558412 w 2351394"/>
                <a:gd name="connsiteY6" fmla="*/ 1453535 h 4522838"/>
                <a:gd name="connsiteX7" fmla="*/ 412955 w 2351394"/>
                <a:gd name="connsiteY7" fmla="*/ 3713315 h 4522838"/>
                <a:gd name="connsiteX8" fmla="*/ 0 w 2351394"/>
                <a:gd name="connsiteY8" fmla="*/ 3295444 h 4522838"/>
                <a:gd name="connsiteX9" fmla="*/ 196645 w 2351394"/>
                <a:gd name="connsiteY9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1602658 w 2352891"/>
                <a:gd name="connsiteY5" fmla="*/ 1445342 h 4522838"/>
                <a:gd name="connsiteX6" fmla="*/ 1558412 w 2352891"/>
                <a:gd name="connsiteY6" fmla="*/ 1453535 h 4522838"/>
                <a:gd name="connsiteX7" fmla="*/ 412955 w 2352891"/>
                <a:gd name="connsiteY7" fmla="*/ 3713315 h 4522838"/>
                <a:gd name="connsiteX8" fmla="*/ 0 w 2352891"/>
                <a:gd name="connsiteY8" fmla="*/ 3295444 h 4522838"/>
                <a:gd name="connsiteX9" fmla="*/ 196645 w 2352891"/>
                <a:gd name="connsiteY9" fmla="*/ 131096 h 4522838"/>
                <a:gd name="connsiteX0" fmla="*/ 196645 w 2352891"/>
                <a:gd name="connsiteY0" fmla="*/ 131096 h 4531314"/>
                <a:gd name="connsiteX1" fmla="*/ 206476 w 2352891"/>
                <a:gd name="connsiteY1" fmla="*/ 0 h 4531314"/>
                <a:gd name="connsiteX2" fmla="*/ 1288027 w 2352891"/>
                <a:gd name="connsiteY2" fmla="*/ 693173 h 4531314"/>
                <a:gd name="connsiteX3" fmla="*/ 2344995 w 2352891"/>
                <a:gd name="connsiteY3" fmla="*/ 2792361 h 4531314"/>
                <a:gd name="connsiteX4" fmla="*/ 1199536 w 2352891"/>
                <a:gd name="connsiteY4" fmla="*/ 4522838 h 4531314"/>
                <a:gd name="connsiteX5" fmla="*/ 1312607 w 2352891"/>
                <a:gd name="connsiteY5" fmla="*/ 3367546 h 4531314"/>
                <a:gd name="connsiteX6" fmla="*/ 1602658 w 2352891"/>
                <a:gd name="connsiteY6" fmla="*/ 1445342 h 4531314"/>
                <a:gd name="connsiteX7" fmla="*/ 1558412 w 2352891"/>
                <a:gd name="connsiteY7" fmla="*/ 1453535 h 4531314"/>
                <a:gd name="connsiteX8" fmla="*/ 412955 w 2352891"/>
                <a:gd name="connsiteY8" fmla="*/ 3713315 h 4531314"/>
                <a:gd name="connsiteX9" fmla="*/ 0 w 2352891"/>
                <a:gd name="connsiteY9" fmla="*/ 3295444 h 4531314"/>
                <a:gd name="connsiteX10" fmla="*/ 196645 w 2352891"/>
                <a:gd name="connsiteY10" fmla="*/ 131096 h 4531314"/>
                <a:gd name="connsiteX0" fmla="*/ 196645 w 2352891"/>
                <a:gd name="connsiteY0" fmla="*/ 131096 h 4570741"/>
                <a:gd name="connsiteX1" fmla="*/ 206476 w 2352891"/>
                <a:gd name="connsiteY1" fmla="*/ 0 h 4570741"/>
                <a:gd name="connsiteX2" fmla="*/ 1288027 w 2352891"/>
                <a:gd name="connsiteY2" fmla="*/ 693173 h 4570741"/>
                <a:gd name="connsiteX3" fmla="*/ 2344995 w 2352891"/>
                <a:gd name="connsiteY3" fmla="*/ 2792361 h 4570741"/>
                <a:gd name="connsiteX4" fmla="*/ 1199536 w 2352891"/>
                <a:gd name="connsiteY4" fmla="*/ 4522838 h 4570741"/>
                <a:gd name="connsiteX5" fmla="*/ 801330 w 2352891"/>
                <a:gd name="connsiteY5" fmla="*/ 4100049 h 4570741"/>
                <a:gd name="connsiteX6" fmla="*/ 1602658 w 2352891"/>
                <a:gd name="connsiteY6" fmla="*/ 1445342 h 4570741"/>
                <a:gd name="connsiteX7" fmla="*/ 1558412 w 2352891"/>
                <a:gd name="connsiteY7" fmla="*/ 1453535 h 4570741"/>
                <a:gd name="connsiteX8" fmla="*/ 412955 w 2352891"/>
                <a:gd name="connsiteY8" fmla="*/ 3713315 h 4570741"/>
                <a:gd name="connsiteX9" fmla="*/ 0 w 2352891"/>
                <a:gd name="connsiteY9" fmla="*/ 3295444 h 4570741"/>
                <a:gd name="connsiteX10" fmla="*/ 196645 w 2352891"/>
                <a:gd name="connsiteY10" fmla="*/ 131096 h 4570741"/>
                <a:gd name="connsiteX0" fmla="*/ 196645 w 2352891"/>
                <a:gd name="connsiteY0" fmla="*/ 131096 h 4536598"/>
                <a:gd name="connsiteX1" fmla="*/ 206476 w 2352891"/>
                <a:gd name="connsiteY1" fmla="*/ 0 h 4536598"/>
                <a:gd name="connsiteX2" fmla="*/ 1288027 w 2352891"/>
                <a:gd name="connsiteY2" fmla="*/ 693173 h 4536598"/>
                <a:gd name="connsiteX3" fmla="*/ 2344995 w 2352891"/>
                <a:gd name="connsiteY3" fmla="*/ 2792361 h 4536598"/>
                <a:gd name="connsiteX4" fmla="*/ 1199536 w 2352891"/>
                <a:gd name="connsiteY4" fmla="*/ 4522838 h 4536598"/>
                <a:gd name="connsiteX5" fmla="*/ 801330 w 2352891"/>
                <a:gd name="connsiteY5" fmla="*/ 4100049 h 4536598"/>
                <a:gd name="connsiteX6" fmla="*/ 1602658 w 2352891"/>
                <a:gd name="connsiteY6" fmla="*/ 1445342 h 4536598"/>
                <a:gd name="connsiteX7" fmla="*/ 1558412 w 2352891"/>
                <a:gd name="connsiteY7" fmla="*/ 1453535 h 4536598"/>
                <a:gd name="connsiteX8" fmla="*/ 412955 w 2352891"/>
                <a:gd name="connsiteY8" fmla="*/ 3713315 h 4536598"/>
                <a:gd name="connsiteX9" fmla="*/ 0 w 2352891"/>
                <a:gd name="connsiteY9" fmla="*/ 3295444 h 4536598"/>
                <a:gd name="connsiteX10" fmla="*/ 196645 w 2352891"/>
                <a:gd name="connsiteY10" fmla="*/ 131096 h 453659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52891"/>
                <a:gd name="connsiteY0" fmla="*/ 131096 h 4522838"/>
                <a:gd name="connsiteX1" fmla="*/ 206476 w 2352891"/>
                <a:gd name="connsiteY1" fmla="*/ 0 h 4522838"/>
                <a:gd name="connsiteX2" fmla="*/ 1288027 w 2352891"/>
                <a:gd name="connsiteY2" fmla="*/ 693173 h 4522838"/>
                <a:gd name="connsiteX3" fmla="*/ 2344995 w 2352891"/>
                <a:gd name="connsiteY3" fmla="*/ 2792361 h 4522838"/>
                <a:gd name="connsiteX4" fmla="*/ 1199536 w 2352891"/>
                <a:gd name="connsiteY4" fmla="*/ 4522838 h 4522838"/>
                <a:gd name="connsiteX5" fmla="*/ 801330 w 2352891"/>
                <a:gd name="connsiteY5" fmla="*/ 4100049 h 4522838"/>
                <a:gd name="connsiteX6" fmla="*/ 1602658 w 2352891"/>
                <a:gd name="connsiteY6" fmla="*/ 1445342 h 4522838"/>
                <a:gd name="connsiteX7" fmla="*/ 1558412 w 2352891"/>
                <a:gd name="connsiteY7" fmla="*/ 1453535 h 4522838"/>
                <a:gd name="connsiteX8" fmla="*/ 412955 w 2352891"/>
                <a:gd name="connsiteY8" fmla="*/ 3713315 h 4522838"/>
                <a:gd name="connsiteX9" fmla="*/ 0 w 2352891"/>
                <a:gd name="connsiteY9" fmla="*/ 3295444 h 4522838"/>
                <a:gd name="connsiteX10" fmla="*/ 196645 w 2352891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801330 w 2372358"/>
                <a:gd name="connsiteY5" fmla="*/ 4100049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412955 w 2372358"/>
                <a:gd name="connsiteY8" fmla="*/ 3713315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196645 w 2372358"/>
                <a:gd name="connsiteY0" fmla="*/ 131096 h 4522838"/>
                <a:gd name="connsiteX1" fmla="*/ 206476 w 2372358"/>
                <a:gd name="connsiteY1" fmla="*/ 0 h 4522838"/>
                <a:gd name="connsiteX2" fmla="*/ 1288027 w 2372358"/>
                <a:gd name="connsiteY2" fmla="*/ 693173 h 4522838"/>
                <a:gd name="connsiteX3" fmla="*/ 2364660 w 2372358"/>
                <a:gd name="connsiteY3" fmla="*/ 2797277 h 4522838"/>
                <a:gd name="connsiteX4" fmla="*/ 1199536 w 2372358"/>
                <a:gd name="connsiteY4" fmla="*/ 4522838 h 4522838"/>
                <a:gd name="connsiteX5" fmla="*/ 783223 w 2372358"/>
                <a:gd name="connsiteY5" fmla="*/ 4104541 h 4522838"/>
                <a:gd name="connsiteX6" fmla="*/ 1602658 w 2372358"/>
                <a:gd name="connsiteY6" fmla="*/ 1445342 h 4522838"/>
                <a:gd name="connsiteX7" fmla="*/ 1558412 w 2372358"/>
                <a:gd name="connsiteY7" fmla="*/ 1453535 h 4522838"/>
                <a:gd name="connsiteX8" fmla="*/ 397112 w 2372358"/>
                <a:gd name="connsiteY8" fmla="*/ 3711069 h 4522838"/>
                <a:gd name="connsiteX9" fmla="*/ 0 w 2372358"/>
                <a:gd name="connsiteY9" fmla="*/ 3295444 h 4522838"/>
                <a:gd name="connsiteX10" fmla="*/ 196645 w 2372358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207962 w 2383675"/>
                <a:gd name="connsiteY0" fmla="*/ 131096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207962 w 2383675"/>
                <a:gd name="connsiteY10" fmla="*/ 131096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3675"/>
                <a:gd name="connsiteY0" fmla="*/ 117620 h 4522838"/>
                <a:gd name="connsiteX1" fmla="*/ 217793 w 2383675"/>
                <a:gd name="connsiteY1" fmla="*/ 0 h 4522838"/>
                <a:gd name="connsiteX2" fmla="*/ 1299344 w 2383675"/>
                <a:gd name="connsiteY2" fmla="*/ 693173 h 4522838"/>
                <a:gd name="connsiteX3" fmla="*/ 2375977 w 2383675"/>
                <a:gd name="connsiteY3" fmla="*/ 2797277 h 4522838"/>
                <a:gd name="connsiteX4" fmla="*/ 1210853 w 2383675"/>
                <a:gd name="connsiteY4" fmla="*/ 4522838 h 4522838"/>
                <a:gd name="connsiteX5" fmla="*/ 794540 w 2383675"/>
                <a:gd name="connsiteY5" fmla="*/ 4104541 h 4522838"/>
                <a:gd name="connsiteX6" fmla="*/ 1613975 w 2383675"/>
                <a:gd name="connsiteY6" fmla="*/ 1445342 h 4522838"/>
                <a:gd name="connsiteX7" fmla="*/ 1569729 w 2383675"/>
                <a:gd name="connsiteY7" fmla="*/ 1453535 h 4522838"/>
                <a:gd name="connsiteX8" fmla="*/ 408429 w 2383675"/>
                <a:gd name="connsiteY8" fmla="*/ 3711069 h 4522838"/>
                <a:gd name="connsiteX9" fmla="*/ 0 w 2383675"/>
                <a:gd name="connsiteY9" fmla="*/ 3304428 h 4522838"/>
                <a:gd name="connsiteX10" fmla="*/ 196645 w 2383675"/>
                <a:gd name="connsiteY10" fmla="*/ 117620 h 4522838"/>
                <a:gd name="connsiteX0" fmla="*/ 196645 w 2382859"/>
                <a:gd name="connsiteY0" fmla="*/ 113128 h 4518346"/>
                <a:gd name="connsiteX1" fmla="*/ 197423 w 2382859"/>
                <a:gd name="connsiteY1" fmla="*/ 0 h 4518346"/>
                <a:gd name="connsiteX2" fmla="*/ 1299344 w 2382859"/>
                <a:gd name="connsiteY2" fmla="*/ 688681 h 4518346"/>
                <a:gd name="connsiteX3" fmla="*/ 2375977 w 2382859"/>
                <a:gd name="connsiteY3" fmla="*/ 2792785 h 4518346"/>
                <a:gd name="connsiteX4" fmla="*/ 1210853 w 2382859"/>
                <a:gd name="connsiteY4" fmla="*/ 4518346 h 4518346"/>
                <a:gd name="connsiteX5" fmla="*/ 794540 w 2382859"/>
                <a:gd name="connsiteY5" fmla="*/ 4100049 h 4518346"/>
                <a:gd name="connsiteX6" fmla="*/ 1613975 w 2382859"/>
                <a:gd name="connsiteY6" fmla="*/ 1440850 h 4518346"/>
                <a:gd name="connsiteX7" fmla="*/ 1569729 w 2382859"/>
                <a:gd name="connsiteY7" fmla="*/ 1449043 h 4518346"/>
                <a:gd name="connsiteX8" fmla="*/ 408429 w 2382859"/>
                <a:gd name="connsiteY8" fmla="*/ 3706577 h 4518346"/>
                <a:gd name="connsiteX9" fmla="*/ 0 w 2382859"/>
                <a:gd name="connsiteY9" fmla="*/ 3299936 h 4518346"/>
                <a:gd name="connsiteX10" fmla="*/ 196645 w 2382859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4063"/>
                <a:gd name="connsiteY0" fmla="*/ 113128 h 4518346"/>
                <a:gd name="connsiteX1" fmla="*/ 197423 w 2384063"/>
                <a:gd name="connsiteY1" fmla="*/ 0 h 4518346"/>
                <a:gd name="connsiteX2" fmla="*/ 1299344 w 2384063"/>
                <a:gd name="connsiteY2" fmla="*/ 688681 h 4518346"/>
                <a:gd name="connsiteX3" fmla="*/ 2375977 w 2384063"/>
                <a:gd name="connsiteY3" fmla="*/ 2792785 h 4518346"/>
                <a:gd name="connsiteX4" fmla="*/ 1210853 w 2384063"/>
                <a:gd name="connsiteY4" fmla="*/ 4518346 h 4518346"/>
                <a:gd name="connsiteX5" fmla="*/ 794540 w 2384063"/>
                <a:gd name="connsiteY5" fmla="*/ 4100049 h 4518346"/>
                <a:gd name="connsiteX6" fmla="*/ 1613975 w 2384063"/>
                <a:gd name="connsiteY6" fmla="*/ 1440850 h 4518346"/>
                <a:gd name="connsiteX7" fmla="*/ 1569729 w 2384063"/>
                <a:gd name="connsiteY7" fmla="*/ 1449043 h 4518346"/>
                <a:gd name="connsiteX8" fmla="*/ 408429 w 2384063"/>
                <a:gd name="connsiteY8" fmla="*/ 3706577 h 4518346"/>
                <a:gd name="connsiteX9" fmla="*/ 0 w 2384063"/>
                <a:gd name="connsiteY9" fmla="*/ 3299936 h 4518346"/>
                <a:gd name="connsiteX10" fmla="*/ 196645 w 2384063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  <a:gd name="connsiteX0" fmla="*/ 196645 w 2383787"/>
                <a:gd name="connsiteY0" fmla="*/ 113128 h 4518346"/>
                <a:gd name="connsiteX1" fmla="*/ 197423 w 2383787"/>
                <a:gd name="connsiteY1" fmla="*/ 0 h 4518346"/>
                <a:gd name="connsiteX2" fmla="*/ 1299344 w 2383787"/>
                <a:gd name="connsiteY2" fmla="*/ 688681 h 4518346"/>
                <a:gd name="connsiteX3" fmla="*/ 2375977 w 2383787"/>
                <a:gd name="connsiteY3" fmla="*/ 2792785 h 4518346"/>
                <a:gd name="connsiteX4" fmla="*/ 1210853 w 2383787"/>
                <a:gd name="connsiteY4" fmla="*/ 4518346 h 4518346"/>
                <a:gd name="connsiteX5" fmla="*/ 794540 w 2383787"/>
                <a:gd name="connsiteY5" fmla="*/ 4100049 h 4518346"/>
                <a:gd name="connsiteX6" fmla="*/ 1613975 w 2383787"/>
                <a:gd name="connsiteY6" fmla="*/ 1440850 h 4518346"/>
                <a:gd name="connsiteX7" fmla="*/ 1569729 w 2383787"/>
                <a:gd name="connsiteY7" fmla="*/ 1449043 h 4518346"/>
                <a:gd name="connsiteX8" fmla="*/ 408429 w 2383787"/>
                <a:gd name="connsiteY8" fmla="*/ 3706577 h 4518346"/>
                <a:gd name="connsiteX9" fmla="*/ 0 w 2383787"/>
                <a:gd name="connsiteY9" fmla="*/ 3299936 h 4518346"/>
                <a:gd name="connsiteX10" fmla="*/ 196645 w 2383787"/>
                <a:gd name="connsiteY10" fmla="*/ 113128 h 4518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3787" h="4518346">
                  <a:moveTo>
                    <a:pt x="196645" y="113128"/>
                  </a:moveTo>
                  <a:cubicBezTo>
                    <a:pt x="197055" y="103024"/>
                    <a:pt x="198180" y="6168"/>
                    <a:pt x="197423" y="0"/>
                  </a:cubicBezTo>
                  <a:cubicBezTo>
                    <a:pt x="455870" y="112159"/>
                    <a:pt x="857539" y="297145"/>
                    <a:pt x="1299344" y="688681"/>
                  </a:cubicBezTo>
                  <a:cubicBezTo>
                    <a:pt x="1768813" y="1104733"/>
                    <a:pt x="2465288" y="1743191"/>
                    <a:pt x="2375977" y="2792785"/>
                  </a:cubicBezTo>
                  <a:cubicBezTo>
                    <a:pt x="2271919" y="3803050"/>
                    <a:pt x="1683620" y="4261068"/>
                    <a:pt x="1210853" y="4518346"/>
                  </a:cubicBezTo>
                  <a:cubicBezTo>
                    <a:pt x="1191188" y="4491307"/>
                    <a:pt x="865005" y="4185262"/>
                    <a:pt x="794540" y="4100049"/>
                  </a:cubicBezTo>
                  <a:cubicBezTo>
                    <a:pt x="2307775" y="3362388"/>
                    <a:pt x="1944613" y="1815328"/>
                    <a:pt x="1613975" y="1440850"/>
                  </a:cubicBezTo>
                  <a:cubicBezTo>
                    <a:pt x="1613155" y="1437299"/>
                    <a:pt x="1575464" y="1448770"/>
                    <a:pt x="1569729" y="1449043"/>
                  </a:cubicBezTo>
                  <a:cubicBezTo>
                    <a:pt x="1951548" y="2790599"/>
                    <a:pt x="892555" y="3529719"/>
                    <a:pt x="408429" y="3706577"/>
                  </a:cubicBezTo>
                  <a:lnTo>
                    <a:pt x="0" y="3299936"/>
                  </a:lnTo>
                  <a:cubicBezTo>
                    <a:pt x="1231076" y="2945604"/>
                    <a:pt x="1907062" y="975285"/>
                    <a:pt x="196645" y="113128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918043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84" Type="http://schemas.openxmlformats.org/officeDocument/2006/relationships/oleObject" Target="../embeddings/oleObject1.bin"/><Relationship Id="rId89" Type="http://schemas.openxmlformats.org/officeDocument/2006/relationships/image" Target="../media/image5.svg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5" Type="http://schemas.openxmlformats.org/officeDocument/2006/relationships/slideLayout" Target="../slideLayouts/slideLayout5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slideLayout" Target="../slideLayouts/slideLayout77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80" Type="http://schemas.openxmlformats.org/officeDocument/2006/relationships/slideLayout" Target="../slideLayouts/slideLayout80.xml"/><Relationship Id="rId85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83" Type="http://schemas.openxmlformats.org/officeDocument/2006/relationships/tags" Target="../tags/tag2.xml"/><Relationship Id="rId88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slideLayout" Target="../slideLayouts/slideLayout81.xml"/><Relationship Id="rId86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image" Target="../media/image3.svg"/><Relationship Id="rId61" Type="http://schemas.openxmlformats.org/officeDocument/2006/relationships/slideLayout" Target="../slideLayouts/slideLayout61.xml"/><Relationship Id="rId82" Type="http://schemas.openxmlformats.org/officeDocument/2006/relationships/theme" Target="../theme/theme1.xml"/><Relationship Id="rId19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E0F8991-3E1D-4E53-8F30-03487B84A9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3"/>
            </p:custDataLst>
            <p:extLst>
              <p:ext uri="{D42A27DB-BD31-4B8C-83A1-F6EECF244321}">
                <p14:modId xmlns:p14="http://schemas.microsoft.com/office/powerpoint/2010/main" val="3457756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4" imgW="479" imgH="478" progId="TCLayout.ActiveDocument.1">
                  <p:embed/>
                </p:oleObj>
              </mc:Choice>
              <mc:Fallback>
                <p:oleObj name="think-cell Slide" r:id="rId84" imgW="479" imgH="47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E0F8991-3E1D-4E53-8F30-03487B84A9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296A059-84C8-F347-ADC9-B2B7410DD7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10515600" cy="570247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en-US"/>
              <a:t>Click to add tex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AD39C0-0A95-7B4F-BA1B-38A92EF416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39502"/>
            <a:ext cx="10515600" cy="4737462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BFA383-E0D6-D042-9BD7-2845100ADE7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1" cap="all" spc="300" baseline="0">
                <a:solidFill>
                  <a:srgbClr val="191919"/>
                </a:solidFill>
                <a:latin typeface="+mj-lt"/>
              </a:defRPr>
            </a:lvl1pPr>
          </a:lstStyle>
          <a:p>
            <a:r>
              <a:rPr lang="en-US"/>
              <a:t>Company Confidential – Do Not Distribut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79DABE-6A72-6644-8197-078037C946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199" y="226219"/>
            <a:ext cx="10515599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1" cap="all" spc="300" baseline="0">
                <a:solidFill>
                  <a:srgbClr val="191919"/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38065D-DCFE-854A-9A4F-12592607E1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05056" y="6365182"/>
            <a:ext cx="519195" cy="365125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000" b="1">
                <a:solidFill>
                  <a:srgbClr val="191919"/>
                </a:solidFill>
                <a:latin typeface="+mj-lt"/>
              </a:defRPr>
            </a:lvl1pPr>
          </a:lstStyle>
          <a:p>
            <a:fld id="{5F33C29C-B29B-5046-9203-657F307C8DD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18340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2" r:id="rId1"/>
    <p:sldLayoutId id="2147483913" r:id="rId2"/>
    <p:sldLayoutId id="2147483914" r:id="rId3"/>
    <p:sldLayoutId id="2147483915" r:id="rId4"/>
    <p:sldLayoutId id="2147483916" r:id="rId5"/>
    <p:sldLayoutId id="2147483917" r:id="rId6"/>
    <p:sldLayoutId id="2147483918" r:id="rId7"/>
    <p:sldLayoutId id="2147483919" r:id="rId8"/>
    <p:sldLayoutId id="2147483920" r:id="rId9"/>
    <p:sldLayoutId id="2147483921" r:id="rId10"/>
    <p:sldLayoutId id="2147483922" r:id="rId11"/>
    <p:sldLayoutId id="2147483923" r:id="rId12"/>
    <p:sldLayoutId id="2147483924" r:id="rId13"/>
    <p:sldLayoutId id="2147483925" r:id="rId14"/>
    <p:sldLayoutId id="2147483926" r:id="rId15"/>
    <p:sldLayoutId id="2147483927" r:id="rId16"/>
    <p:sldLayoutId id="2147483928" r:id="rId17"/>
    <p:sldLayoutId id="2147483929" r:id="rId18"/>
    <p:sldLayoutId id="2147483930" r:id="rId19"/>
    <p:sldLayoutId id="2147483931" r:id="rId20"/>
    <p:sldLayoutId id="2147483932" r:id="rId21"/>
    <p:sldLayoutId id="2147483933" r:id="rId22"/>
    <p:sldLayoutId id="2147483934" r:id="rId23"/>
    <p:sldLayoutId id="2147483935" r:id="rId24"/>
    <p:sldLayoutId id="2147483936" r:id="rId25"/>
    <p:sldLayoutId id="2147483937" r:id="rId26"/>
    <p:sldLayoutId id="2147483938" r:id="rId27"/>
    <p:sldLayoutId id="2147483939" r:id="rId28"/>
    <p:sldLayoutId id="2147483940" r:id="rId29"/>
    <p:sldLayoutId id="2147483941" r:id="rId30"/>
    <p:sldLayoutId id="2147483942" r:id="rId31"/>
    <p:sldLayoutId id="2147483943" r:id="rId32"/>
    <p:sldLayoutId id="2147483944" r:id="rId33"/>
    <p:sldLayoutId id="2147483945" r:id="rId34"/>
    <p:sldLayoutId id="2147483946" r:id="rId35"/>
    <p:sldLayoutId id="2147483947" r:id="rId36"/>
    <p:sldLayoutId id="2147483948" r:id="rId37"/>
    <p:sldLayoutId id="2147483949" r:id="rId38"/>
    <p:sldLayoutId id="2147483950" r:id="rId39"/>
    <p:sldLayoutId id="2147483951" r:id="rId40"/>
    <p:sldLayoutId id="2147483991" r:id="rId41"/>
    <p:sldLayoutId id="2147483952" r:id="rId42"/>
    <p:sldLayoutId id="2147483953" r:id="rId43"/>
    <p:sldLayoutId id="2147483954" r:id="rId44"/>
    <p:sldLayoutId id="2147483955" r:id="rId45"/>
    <p:sldLayoutId id="2147483956" r:id="rId46"/>
    <p:sldLayoutId id="2147483957" r:id="rId47"/>
    <p:sldLayoutId id="2147483958" r:id="rId48"/>
    <p:sldLayoutId id="2147483959" r:id="rId49"/>
    <p:sldLayoutId id="2147483960" r:id="rId50"/>
    <p:sldLayoutId id="2147483961" r:id="rId51"/>
    <p:sldLayoutId id="2147483962" r:id="rId52"/>
    <p:sldLayoutId id="2147483963" r:id="rId53"/>
    <p:sldLayoutId id="2147483964" r:id="rId54"/>
    <p:sldLayoutId id="2147483965" r:id="rId55"/>
    <p:sldLayoutId id="2147483966" r:id="rId56"/>
    <p:sldLayoutId id="2147483967" r:id="rId57"/>
    <p:sldLayoutId id="2147483968" r:id="rId58"/>
    <p:sldLayoutId id="2147483969" r:id="rId59"/>
    <p:sldLayoutId id="2147483970" r:id="rId60"/>
    <p:sldLayoutId id="2147483971" r:id="rId61"/>
    <p:sldLayoutId id="2147483972" r:id="rId62"/>
    <p:sldLayoutId id="2147483973" r:id="rId63"/>
    <p:sldLayoutId id="2147483974" r:id="rId64"/>
    <p:sldLayoutId id="2147483975" r:id="rId65"/>
    <p:sldLayoutId id="2147483976" r:id="rId66"/>
    <p:sldLayoutId id="2147483977" r:id="rId67"/>
    <p:sldLayoutId id="2147483978" r:id="rId68"/>
    <p:sldLayoutId id="2147483979" r:id="rId69"/>
    <p:sldLayoutId id="2147483980" r:id="rId70"/>
    <p:sldLayoutId id="2147483981" r:id="rId71"/>
    <p:sldLayoutId id="2147483982" r:id="rId72"/>
    <p:sldLayoutId id="2147483983" r:id="rId73"/>
    <p:sldLayoutId id="2147483984" r:id="rId74"/>
    <p:sldLayoutId id="2147483985" r:id="rId75"/>
    <p:sldLayoutId id="2147483986" r:id="rId76"/>
    <p:sldLayoutId id="2147483987" r:id="rId77"/>
    <p:sldLayoutId id="2147483988" r:id="rId78"/>
    <p:sldLayoutId id="2147483994" r:id="rId79"/>
    <p:sldLayoutId id="2147483874" r:id="rId80"/>
    <p:sldLayoutId id="2147484488" r:id="rId8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rgbClr val="0D64EF"/>
          </a:solidFill>
          <a:latin typeface="+mn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2"/>
        </a:buClr>
        <a:buFontTx/>
        <a:buBlip>
          <a:blip r:embed="rId86">
            <a:extLst>
              <a:ext uri="{96DAC541-7B7A-43D3-8B79-37D633B846F1}">
                <asvg:svgBlip xmlns:asvg="http://schemas.microsoft.com/office/drawing/2016/SVG/main" r:embed="rId87"/>
              </a:ext>
            </a:extLst>
          </a:blip>
        </a:buBlip>
        <a:defRPr sz="1600" kern="1200">
          <a:solidFill>
            <a:srgbClr val="191919"/>
          </a:solidFill>
          <a:latin typeface="+mj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2"/>
        </a:buClr>
        <a:buFontTx/>
        <a:buBlip>
          <a:blip r:embed="rId88">
            <a:extLst>
              <a:ext uri="{96DAC541-7B7A-43D3-8B79-37D633B846F1}">
                <asvg:svgBlip xmlns:asvg="http://schemas.microsoft.com/office/drawing/2016/SVG/main" r:embed="rId89"/>
              </a:ext>
            </a:extLst>
          </a:blip>
        </a:buBlip>
        <a:defRPr sz="1600" kern="1200">
          <a:solidFill>
            <a:srgbClr val="191919"/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Font typeface="Arial" panose="020B0604020202020204" pitchFamily="34" charset="0"/>
        <a:buChar char="•"/>
        <a:defRPr sz="1600" kern="1200">
          <a:solidFill>
            <a:srgbClr val="191919"/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Font typeface="Arial" panose="020B0604020202020204" pitchFamily="34" charset="0"/>
        <a:buChar char="•"/>
        <a:defRPr sz="1600" kern="1200">
          <a:solidFill>
            <a:srgbClr val="191919"/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Font typeface="Arial" panose="020B0604020202020204" pitchFamily="34" charset="0"/>
        <a:buChar char="•"/>
        <a:defRPr sz="1600" kern="1200">
          <a:solidFill>
            <a:srgbClr val="191919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4.xml"/><Relationship Id="rId4" Type="http://schemas.openxmlformats.org/officeDocument/2006/relationships/hyperlink" Target="https://www.tccustomerexpress.com/5231.html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B0DF4E27-4A48-9ADC-9734-4DF701F9D1D5}"/>
              </a:ext>
            </a:extLst>
          </p:cNvPr>
          <p:cNvGrpSpPr/>
          <p:nvPr/>
        </p:nvGrpSpPr>
        <p:grpSpPr>
          <a:xfrm>
            <a:off x="4038671" y="778138"/>
            <a:ext cx="4011580" cy="4635027"/>
            <a:chOff x="4038671" y="778138"/>
            <a:chExt cx="4011580" cy="4635027"/>
          </a:xfrm>
        </p:grpSpPr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A6BE0318-D08D-DB93-71BD-D5A38BA78435}"/>
                </a:ext>
              </a:extLst>
            </p:cNvPr>
            <p:cNvGrpSpPr/>
            <p:nvPr/>
          </p:nvGrpSpPr>
          <p:grpSpPr>
            <a:xfrm>
              <a:off x="4038671" y="778138"/>
              <a:ext cx="4011580" cy="4635027"/>
              <a:chOff x="112085" y="1389991"/>
              <a:chExt cx="4011580" cy="4635027"/>
            </a:xfrm>
          </p:grpSpPr>
          <p:pic>
            <p:nvPicPr>
              <p:cNvPr id="83" name="Picture 82">
                <a:extLst>
                  <a:ext uri="{FF2B5EF4-FFF2-40B4-BE49-F238E27FC236}">
                    <a16:creationId xmlns:a16="http://schemas.microsoft.com/office/drawing/2014/main" id="{B830D636-5E74-E424-C6F5-B4CFFC448847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grayscl/>
              </a:blip>
              <a:srcRect t="3508" r="19583" b="1547"/>
              <a:stretch/>
            </p:blipFill>
            <p:spPr>
              <a:xfrm>
                <a:off x="603013" y="1389991"/>
                <a:ext cx="3520652" cy="4630510"/>
              </a:xfrm>
              <a:prstGeom prst="rect">
                <a:avLst/>
              </a:prstGeom>
            </p:spPr>
          </p:pic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E4007504-B098-EEE0-E4B9-4649218B229A}"/>
                  </a:ext>
                </a:extLst>
              </p:cNvPr>
              <p:cNvSpPr/>
              <p:nvPr/>
            </p:nvSpPr>
            <p:spPr>
              <a:xfrm>
                <a:off x="112085" y="5808060"/>
                <a:ext cx="2544817" cy="216958"/>
              </a:xfrm>
              <a:prstGeom prst="rect">
                <a:avLst/>
              </a:prstGeom>
              <a:solidFill>
                <a:srgbClr val="FFFFFF"/>
              </a:solidFill>
              <a:ln w="76200" cap="rnd" cmpd="sng" algn="ctr">
                <a:noFill/>
                <a:prstDash val="solid"/>
                <a:miter lim="800000"/>
                <a:headEnd type="none" w="med" len="med"/>
                <a:tailEnd type="triangle" w="med" len="me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endParaRPr>
              </a:p>
            </p:txBody>
          </p:sp>
        </p:grp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19DC6AA5-4332-102A-6EF4-0D3A7BB8C493}"/>
                </a:ext>
              </a:extLst>
            </p:cNvPr>
            <p:cNvSpPr/>
            <p:nvPr/>
          </p:nvSpPr>
          <p:spPr>
            <a:xfrm rot="3274039">
              <a:off x="5895605" y="3819251"/>
              <a:ext cx="813777" cy="43108"/>
            </a:xfrm>
            <a:custGeom>
              <a:avLst/>
              <a:gdLst>
                <a:gd name="connsiteX0" fmla="*/ 0 w 721226"/>
                <a:gd name="connsiteY0" fmla="*/ 0 h 771525"/>
                <a:gd name="connsiteX1" fmla="*/ 128587 w 721226"/>
                <a:gd name="connsiteY1" fmla="*/ 4762 h 771525"/>
                <a:gd name="connsiteX2" fmla="*/ 276225 w 721226"/>
                <a:gd name="connsiteY2" fmla="*/ 23812 h 771525"/>
                <a:gd name="connsiteX3" fmla="*/ 342900 w 721226"/>
                <a:gd name="connsiteY3" fmla="*/ 138112 h 771525"/>
                <a:gd name="connsiteX4" fmla="*/ 371475 w 721226"/>
                <a:gd name="connsiteY4" fmla="*/ 200025 h 771525"/>
                <a:gd name="connsiteX5" fmla="*/ 552450 w 721226"/>
                <a:gd name="connsiteY5" fmla="*/ 352425 h 771525"/>
                <a:gd name="connsiteX6" fmla="*/ 657225 w 721226"/>
                <a:gd name="connsiteY6" fmla="*/ 476250 h 771525"/>
                <a:gd name="connsiteX7" fmla="*/ 714375 w 721226"/>
                <a:gd name="connsiteY7" fmla="*/ 542925 h 771525"/>
                <a:gd name="connsiteX8" fmla="*/ 719137 w 721226"/>
                <a:gd name="connsiteY8" fmla="*/ 628650 h 771525"/>
                <a:gd name="connsiteX9" fmla="*/ 704850 w 721226"/>
                <a:gd name="connsiteY9" fmla="*/ 771525 h 771525"/>
                <a:gd name="connsiteX0" fmla="*/ 0 w 716622"/>
                <a:gd name="connsiteY0" fmla="*/ 0 h 771525"/>
                <a:gd name="connsiteX1" fmla="*/ 128587 w 716622"/>
                <a:gd name="connsiteY1" fmla="*/ 4762 h 771525"/>
                <a:gd name="connsiteX2" fmla="*/ 276225 w 716622"/>
                <a:gd name="connsiteY2" fmla="*/ 23812 h 771525"/>
                <a:gd name="connsiteX3" fmla="*/ 342900 w 716622"/>
                <a:gd name="connsiteY3" fmla="*/ 138112 h 771525"/>
                <a:gd name="connsiteX4" fmla="*/ 371475 w 716622"/>
                <a:gd name="connsiteY4" fmla="*/ 200025 h 771525"/>
                <a:gd name="connsiteX5" fmla="*/ 552450 w 716622"/>
                <a:gd name="connsiteY5" fmla="*/ 352425 h 771525"/>
                <a:gd name="connsiteX6" fmla="*/ 657225 w 716622"/>
                <a:gd name="connsiteY6" fmla="*/ 476250 h 771525"/>
                <a:gd name="connsiteX7" fmla="*/ 714375 w 716622"/>
                <a:gd name="connsiteY7" fmla="*/ 542925 h 771525"/>
                <a:gd name="connsiteX8" fmla="*/ 704850 w 716622"/>
                <a:gd name="connsiteY8" fmla="*/ 771525 h 771525"/>
                <a:gd name="connsiteX0" fmla="*/ 0 w 704850"/>
                <a:gd name="connsiteY0" fmla="*/ 0 h 771525"/>
                <a:gd name="connsiteX1" fmla="*/ 128587 w 704850"/>
                <a:gd name="connsiteY1" fmla="*/ 4762 h 771525"/>
                <a:gd name="connsiteX2" fmla="*/ 276225 w 704850"/>
                <a:gd name="connsiteY2" fmla="*/ 23812 h 771525"/>
                <a:gd name="connsiteX3" fmla="*/ 342900 w 704850"/>
                <a:gd name="connsiteY3" fmla="*/ 138112 h 771525"/>
                <a:gd name="connsiteX4" fmla="*/ 371475 w 704850"/>
                <a:gd name="connsiteY4" fmla="*/ 200025 h 771525"/>
                <a:gd name="connsiteX5" fmla="*/ 552450 w 704850"/>
                <a:gd name="connsiteY5" fmla="*/ 352425 h 771525"/>
                <a:gd name="connsiteX6" fmla="*/ 657225 w 704850"/>
                <a:gd name="connsiteY6" fmla="*/ 476250 h 771525"/>
                <a:gd name="connsiteX7" fmla="*/ 704850 w 704850"/>
                <a:gd name="connsiteY7" fmla="*/ 771525 h 771525"/>
                <a:gd name="connsiteX0" fmla="*/ 0 w 704850"/>
                <a:gd name="connsiteY0" fmla="*/ 0 h 771525"/>
                <a:gd name="connsiteX1" fmla="*/ 128587 w 704850"/>
                <a:gd name="connsiteY1" fmla="*/ 4762 h 771525"/>
                <a:gd name="connsiteX2" fmla="*/ 276225 w 704850"/>
                <a:gd name="connsiteY2" fmla="*/ 23812 h 771525"/>
                <a:gd name="connsiteX3" fmla="*/ 342900 w 704850"/>
                <a:gd name="connsiteY3" fmla="*/ 138112 h 771525"/>
                <a:gd name="connsiteX4" fmla="*/ 371475 w 704850"/>
                <a:gd name="connsiteY4" fmla="*/ 200025 h 771525"/>
                <a:gd name="connsiteX5" fmla="*/ 552450 w 704850"/>
                <a:gd name="connsiteY5" fmla="*/ 352425 h 771525"/>
                <a:gd name="connsiteX6" fmla="*/ 704850 w 704850"/>
                <a:gd name="connsiteY6" fmla="*/ 771525 h 771525"/>
                <a:gd name="connsiteX0" fmla="*/ 0 w 704850"/>
                <a:gd name="connsiteY0" fmla="*/ 0 h 771525"/>
                <a:gd name="connsiteX1" fmla="*/ 128587 w 704850"/>
                <a:gd name="connsiteY1" fmla="*/ 4762 h 771525"/>
                <a:gd name="connsiteX2" fmla="*/ 276225 w 704850"/>
                <a:gd name="connsiteY2" fmla="*/ 23812 h 771525"/>
                <a:gd name="connsiteX3" fmla="*/ 342900 w 704850"/>
                <a:gd name="connsiteY3" fmla="*/ 138112 h 771525"/>
                <a:gd name="connsiteX4" fmla="*/ 371475 w 704850"/>
                <a:gd name="connsiteY4" fmla="*/ 200025 h 771525"/>
                <a:gd name="connsiteX5" fmla="*/ 704850 w 704850"/>
                <a:gd name="connsiteY5" fmla="*/ 771525 h 771525"/>
                <a:gd name="connsiteX0" fmla="*/ 0 w 728296"/>
                <a:gd name="connsiteY0" fmla="*/ 44884 h 251397"/>
                <a:gd name="connsiteX1" fmla="*/ 128587 w 728296"/>
                <a:gd name="connsiteY1" fmla="*/ 49646 h 251397"/>
                <a:gd name="connsiteX2" fmla="*/ 276225 w 728296"/>
                <a:gd name="connsiteY2" fmla="*/ 68696 h 251397"/>
                <a:gd name="connsiteX3" fmla="*/ 342900 w 728296"/>
                <a:gd name="connsiteY3" fmla="*/ 182996 h 251397"/>
                <a:gd name="connsiteX4" fmla="*/ 371475 w 728296"/>
                <a:gd name="connsiteY4" fmla="*/ 244909 h 251397"/>
                <a:gd name="connsiteX5" fmla="*/ 728296 w 728296"/>
                <a:gd name="connsiteY5" fmla="*/ 27055 h 251397"/>
                <a:gd name="connsiteX0" fmla="*/ 0 w 728296"/>
                <a:gd name="connsiteY0" fmla="*/ 85612 h 224544"/>
                <a:gd name="connsiteX1" fmla="*/ 128587 w 728296"/>
                <a:gd name="connsiteY1" fmla="*/ 90374 h 224544"/>
                <a:gd name="connsiteX2" fmla="*/ 276225 w 728296"/>
                <a:gd name="connsiteY2" fmla="*/ 109424 h 224544"/>
                <a:gd name="connsiteX3" fmla="*/ 342900 w 728296"/>
                <a:gd name="connsiteY3" fmla="*/ 223724 h 224544"/>
                <a:gd name="connsiteX4" fmla="*/ 496521 w 728296"/>
                <a:gd name="connsiteY4" fmla="*/ 43360 h 224544"/>
                <a:gd name="connsiteX5" fmla="*/ 728296 w 728296"/>
                <a:gd name="connsiteY5" fmla="*/ 67783 h 224544"/>
                <a:gd name="connsiteX0" fmla="*/ 0 w 783003"/>
                <a:gd name="connsiteY0" fmla="*/ 101242 h 224544"/>
                <a:gd name="connsiteX1" fmla="*/ 183294 w 783003"/>
                <a:gd name="connsiteY1" fmla="*/ 90374 h 224544"/>
                <a:gd name="connsiteX2" fmla="*/ 330932 w 783003"/>
                <a:gd name="connsiteY2" fmla="*/ 109424 h 224544"/>
                <a:gd name="connsiteX3" fmla="*/ 397607 w 783003"/>
                <a:gd name="connsiteY3" fmla="*/ 223724 h 224544"/>
                <a:gd name="connsiteX4" fmla="*/ 551228 w 783003"/>
                <a:gd name="connsiteY4" fmla="*/ 43360 h 224544"/>
                <a:gd name="connsiteX5" fmla="*/ 783003 w 783003"/>
                <a:gd name="connsiteY5" fmla="*/ 67783 h 224544"/>
                <a:gd name="connsiteX0" fmla="*/ 0 w 783003"/>
                <a:gd name="connsiteY0" fmla="*/ 94613 h 102795"/>
                <a:gd name="connsiteX1" fmla="*/ 183294 w 783003"/>
                <a:gd name="connsiteY1" fmla="*/ 83745 h 102795"/>
                <a:gd name="connsiteX2" fmla="*/ 330932 w 783003"/>
                <a:gd name="connsiteY2" fmla="*/ 102795 h 102795"/>
                <a:gd name="connsiteX3" fmla="*/ 413237 w 783003"/>
                <a:gd name="connsiteY3" fmla="*/ 84233 h 102795"/>
                <a:gd name="connsiteX4" fmla="*/ 551228 w 783003"/>
                <a:gd name="connsiteY4" fmla="*/ 36731 h 102795"/>
                <a:gd name="connsiteX5" fmla="*/ 783003 w 783003"/>
                <a:gd name="connsiteY5" fmla="*/ 61154 h 102795"/>
                <a:gd name="connsiteX0" fmla="*/ 0 w 939311"/>
                <a:gd name="connsiteY0" fmla="*/ 86798 h 102795"/>
                <a:gd name="connsiteX1" fmla="*/ 339602 w 939311"/>
                <a:gd name="connsiteY1" fmla="*/ 83745 h 102795"/>
                <a:gd name="connsiteX2" fmla="*/ 487240 w 939311"/>
                <a:gd name="connsiteY2" fmla="*/ 102795 h 102795"/>
                <a:gd name="connsiteX3" fmla="*/ 569545 w 939311"/>
                <a:gd name="connsiteY3" fmla="*/ 84233 h 102795"/>
                <a:gd name="connsiteX4" fmla="*/ 707536 w 939311"/>
                <a:gd name="connsiteY4" fmla="*/ 36731 h 102795"/>
                <a:gd name="connsiteX5" fmla="*/ 939311 w 939311"/>
                <a:gd name="connsiteY5" fmla="*/ 61154 h 102795"/>
                <a:gd name="connsiteX0" fmla="*/ 0 w 939311"/>
                <a:gd name="connsiteY0" fmla="*/ 75779 h 91776"/>
                <a:gd name="connsiteX1" fmla="*/ 339602 w 939311"/>
                <a:gd name="connsiteY1" fmla="*/ 72726 h 91776"/>
                <a:gd name="connsiteX2" fmla="*/ 487240 w 939311"/>
                <a:gd name="connsiteY2" fmla="*/ 91776 h 91776"/>
                <a:gd name="connsiteX3" fmla="*/ 569545 w 939311"/>
                <a:gd name="connsiteY3" fmla="*/ 73214 h 91776"/>
                <a:gd name="connsiteX4" fmla="*/ 730982 w 939311"/>
                <a:gd name="connsiteY4" fmla="*/ 64788 h 91776"/>
                <a:gd name="connsiteX5" fmla="*/ 939311 w 939311"/>
                <a:gd name="connsiteY5" fmla="*/ 50135 h 91776"/>
                <a:gd name="connsiteX0" fmla="*/ 0 w 730982"/>
                <a:gd name="connsiteY0" fmla="*/ 10991 h 26988"/>
                <a:gd name="connsiteX1" fmla="*/ 339602 w 730982"/>
                <a:gd name="connsiteY1" fmla="*/ 7938 h 26988"/>
                <a:gd name="connsiteX2" fmla="*/ 487240 w 730982"/>
                <a:gd name="connsiteY2" fmla="*/ 26988 h 26988"/>
                <a:gd name="connsiteX3" fmla="*/ 569545 w 730982"/>
                <a:gd name="connsiteY3" fmla="*/ 8426 h 26988"/>
                <a:gd name="connsiteX4" fmla="*/ 730982 w 730982"/>
                <a:gd name="connsiteY4" fmla="*/ 0 h 26988"/>
                <a:gd name="connsiteX0" fmla="*/ 0 w 918552"/>
                <a:gd name="connsiteY0" fmla="*/ 96961 h 112969"/>
                <a:gd name="connsiteX1" fmla="*/ 339602 w 918552"/>
                <a:gd name="connsiteY1" fmla="*/ 93908 h 112969"/>
                <a:gd name="connsiteX2" fmla="*/ 487240 w 918552"/>
                <a:gd name="connsiteY2" fmla="*/ 112958 h 112969"/>
                <a:gd name="connsiteX3" fmla="*/ 569545 w 918552"/>
                <a:gd name="connsiteY3" fmla="*/ 94396 h 112969"/>
                <a:gd name="connsiteX4" fmla="*/ 918552 w 918552"/>
                <a:gd name="connsiteY4" fmla="*/ 0 h 112969"/>
                <a:gd name="connsiteX0" fmla="*/ 0 w 864577"/>
                <a:gd name="connsiteY0" fmla="*/ 39811 h 55808"/>
                <a:gd name="connsiteX1" fmla="*/ 339602 w 864577"/>
                <a:gd name="connsiteY1" fmla="*/ 36758 h 55808"/>
                <a:gd name="connsiteX2" fmla="*/ 487240 w 864577"/>
                <a:gd name="connsiteY2" fmla="*/ 55808 h 55808"/>
                <a:gd name="connsiteX3" fmla="*/ 569545 w 864577"/>
                <a:gd name="connsiteY3" fmla="*/ 37246 h 55808"/>
                <a:gd name="connsiteX4" fmla="*/ 864577 w 864577"/>
                <a:gd name="connsiteY4" fmla="*/ 0 h 55808"/>
                <a:gd name="connsiteX0" fmla="*/ 0 w 848702"/>
                <a:gd name="connsiteY0" fmla="*/ 27111 h 43108"/>
                <a:gd name="connsiteX1" fmla="*/ 339602 w 848702"/>
                <a:gd name="connsiteY1" fmla="*/ 24058 h 43108"/>
                <a:gd name="connsiteX2" fmla="*/ 487240 w 848702"/>
                <a:gd name="connsiteY2" fmla="*/ 43108 h 43108"/>
                <a:gd name="connsiteX3" fmla="*/ 569545 w 848702"/>
                <a:gd name="connsiteY3" fmla="*/ 24546 h 43108"/>
                <a:gd name="connsiteX4" fmla="*/ 848702 w 848702"/>
                <a:gd name="connsiteY4" fmla="*/ 0 h 43108"/>
                <a:gd name="connsiteX0" fmla="*/ 0 w 813777"/>
                <a:gd name="connsiteY0" fmla="*/ 36636 h 43108"/>
                <a:gd name="connsiteX1" fmla="*/ 304677 w 813777"/>
                <a:gd name="connsiteY1" fmla="*/ 24058 h 43108"/>
                <a:gd name="connsiteX2" fmla="*/ 452315 w 813777"/>
                <a:gd name="connsiteY2" fmla="*/ 43108 h 43108"/>
                <a:gd name="connsiteX3" fmla="*/ 534620 w 813777"/>
                <a:gd name="connsiteY3" fmla="*/ 24546 h 43108"/>
                <a:gd name="connsiteX4" fmla="*/ 813777 w 813777"/>
                <a:gd name="connsiteY4" fmla="*/ 0 h 43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3777" h="43108">
                  <a:moveTo>
                    <a:pt x="0" y="36636"/>
                  </a:moveTo>
                  <a:cubicBezTo>
                    <a:pt x="41275" y="37032"/>
                    <a:pt x="229291" y="22979"/>
                    <a:pt x="304677" y="24058"/>
                  </a:cubicBezTo>
                  <a:cubicBezTo>
                    <a:pt x="380063" y="25137"/>
                    <a:pt x="413991" y="43027"/>
                    <a:pt x="452315" y="43108"/>
                  </a:cubicBezTo>
                  <a:cubicBezTo>
                    <a:pt x="490639" y="43189"/>
                    <a:pt x="474376" y="31731"/>
                    <a:pt x="534620" y="24546"/>
                  </a:cubicBezTo>
                  <a:cubicBezTo>
                    <a:pt x="594864" y="17361"/>
                    <a:pt x="752149" y="3847"/>
                    <a:pt x="813777" y="0"/>
                  </a:cubicBezTo>
                </a:path>
              </a:pathLst>
            </a:custGeom>
            <a:noFill/>
            <a:ln w="76200" cap="rnd" cmpd="sng" algn="ctr">
              <a:solidFill>
                <a:srgbClr val="00B050">
                  <a:alpha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F1D0F5C7-C7E4-22BD-7C16-4C3DD50C7157}"/>
                </a:ext>
              </a:extLst>
            </p:cNvPr>
            <p:cNvSpPr/>
            <p:nvPr/>
          </p:nvSpPr>
          <p:spPr>
            <a:xfrm>
              <a:off x="6578139" y="4183056"/>
              <a:ext cx="966889" cy="501255"/>
            </a:xfrm>
            <a:custGeom>
              <a:avLst/>
              <a:gdLst>
                <a:gd name="connsiteX0" fmla="*/ 0 w 1803400"/>
                <a:gd name="connsiteY0" fmla="*/ 0 h 708073"/>
                <a:gd name="connsiteX1" fmla="*/ 101600 w 1803400"/>
                <a:gd name="connsiteY1" fmla="*/ 107950 h 708073"/>
                <a:gd name="connsiteX2" fmla="*/ 196850 w 1803400"/>
                <a:gd name="connsiteY2" fmla="*/ 203200 h 708073"/>
                <a:gd name="connsiteX3" fmla="*/ 368300 w 1803400"/>
                <a:gd name="connsiteY3" fmla="*/ 298450 h 708073"/>
                <a:gd name="connsiteX4" fmla="*/ 514350 w 1803400"/>
                <a:gd name="connsiteY4" fmla="*/ 361950 h 708073"/>
                <a:gd name="connsiteX5" fmla="*/ 723900 w 1803400"/>
                <a:gd name="connsiteY5" fmla="*/ 457200 h 708073"/>
                <a:gd name="connsiteX6" fmla="*/ 838200 w 1803400"/>
                <a:gd name="connsiteY6" fmla="*/ 508000 h 708073"/>
                <a:gd name="connsiteX7" fmla="*/ 939800 w 1803400"/>
                <a:gd name="connsiteY7" fmla="*/ 571500 h 708073"/>
                <a:gd name="connsiteX8" fmla="*/ 1066800 w 1803400"/>
                <a:gd name="connsiteY8" fmla="*/ 622300 h 708073"/>
                <a:gd name="connsiteX9" fmla="*/ 1162050 w 1803400"/>
                <a:gd name="connsiteY9" fmla="*/ 673100 h 708073"/>
                <a:gd name="connsiteX10" fmla="*/ 1225550 w 1803400"/>
                <a:gd name="connsiteY10" fmla="*/ 704850 h 708073"/>
                <a:gd name="connsiteX11" fmla="*/ 1390650 w 1803400"/>
                <a:gd name="connsiteY11" fmla="*/ 704850 h 708073"/>
                <a:gd name="connsiteX12" fmla="*/ 1536700 w 1803400"/>
                <a:gd name="connsiteY12" fmla="*/ 685800 h 708073"/>
                <a:gd name="connsiteX13" fmla="*/ 1689100 w 1803400"/>
                <a:gd name="connsiteY13" fmla="*/ 679450 h 708073"/>
                <a:gd name="connsiteX14" fmla="*/ 1803400 w 1803400"/>
                <a:gd name="connsiteY14" fmla="*/ 692150 h 708073"/>
                <a:gd name="connsiteX0" fmla="*/ 0 w 1803400"/>
                <a:gd name="connsiteY0" fmla="*/ 0 h 705031"/>
                <a:gd name="connsiteX1" fmla="*/ 101600 w 1803400"/>
                <a:gd name="connsiteY1" fmla="*/ 107950 h 705031"/>
                <a:gd name="connsiteX2" fmla="*/ 196850 w 1803400"/>
                <a:gd name="connsiteY2" fmla="*/ 203200 h 705031"/>
                <a:gd name="connsiteX3" fmla="*/ 368300 w 1803400"/>
                <a:gd name="connsiteY3" fmla="*/ 298450 h 705031"/>
                <a:gd name="connsiteX4" fmla="*/ 514350 w 1803400"/>
                <a:gd name="connsiteY4" fmla="*/ 361950 h 705031"/>
                <a:gd name="connsiteX5" fmla="*/ 723900 w 1803400"/>
                <a:gd name="connsiteY5" fmla="*/ 457200 h 705031"/>
                <a:gd name="connsiteX6" fmla="*/ 838200 w 1803400"/>
                <a:gd name="connsiteY6" fmla="*/ 508000 h 705031"/>
                <a:gd name="connsiteX7" fmla="*/ 939800 w 1803400"/>
                <a:gd name="connsiteY7" fmla="*/ 571500 h 705031"/>
                <a:gd name="connsiteX8" fmla="*/ 1066800 w 1803400"/>
                <a:gd name="connsiteY8" fmla="*/ 622300 h 705031"/>
                <a:gd name="connsiteX9" fmla="*/ 1162050 w 1803400"/>
                <a:gd name="connsiteY9" fmla="*/ 673100 h 705031"/>
                <a:gd name="connsiteX10" fmla="*/ 1225550 w 1803400"/>
                <a:gd name="connsiteY10" fmla="*/ 704850 h 705031"/>
                <a:gd name="connsiteX11" fmla="*/ 1536700 w 1803400"/>
                <a:gd name="connsiteY11" fmla="*/ 685800 h 705031"/>
                <a:gd name="connsiteX12" fmla="*/ 1689100 w 1803400"/>
                <a:gd name="connsiteY12" fmla="*/ 679450 h 705031"/>
                <a:gd name="connsiteX13" fmla="*/ 1803400 w 1803400"/>
                <a:gd name="connsiteY13" fmla="*/ 692150 h 705031"/>
                <a:gd name="connsiteX0" fmla="*/ 0 w 1803400"/>
                <a:gd name="connsiteY0" fmla="*/ 0 h 704883"/>
                <a:gd name="connsiteX1" fmla="*/ 101600 w 1803400"/>
                <a:gd name="connsiteY1" fmla="*/ 107950 h 704883"/>
                <a:gd name="connsiteX2" fmla="*/ 196850 w 1803400"/>
                <a:gd name="connsiteY2" fmla="*/ 203200 h 704883"/>
                <a:gd name="connsiteX3" fmla="*/ 368300 w 1803400"/>
                <a:gd name="connsiteY3" fmla="*/ 298450 h 704883"/>
                <a:gd name="connsiteX4" fmla="*/ 514350 w 1803400"/>
                <a:gd name="connsiteY4" fmla="*/ 361950 h 704883"/>
                <a:gd name="connsiteX5" fmla="*/ 723900 w 1803400"/>
                <a:gd name="connsiteY5" fmla="*/ 457200 h 704883"/>
                <a:gd name="connsiteX6" fmla="*/ 838200 w 1803400"/>
                <a:gd name="connsiteY6" fmla="*/ 508000 h 704883"/>
                <a:gd name="connsiteX7" fmla="*/ 939800 w 1803400"/>
                <a:gd name="connsiteY7" fmla="*/ 571500 h 704883"/>
                <a:gd name="connsiteX8" fmla="*/ 1066800 w 1803400"/>
                <a:gd name="connsiteY8" fmla="*/ 622300 h 704883"/>
                <a:gd name="connsiteX9" fmla="*/ 1162050 w 1803400"/>
                <a:gd name="connsiteY9" fmla="*/ 673100 h 704883"/>
                <a:gd name="connsiteX10" fmla="*/ 1225550 w 1803400"/>
                <a:gd name="connsiteY10" fmla="*/ 704850 h 704883"/>
                <a:gd name="connsiteX11" fmla="*/ 1689100 w 1803400"/>
                <a:gd name="connsiteY11" fmla="*/ 679450 h 704883"/>
                <a:gd name="connsiteX12" fmla="*/ 1803400 w 1803400"/>
                <a:gd name="connsiteY12" fmla="*/ 692150 h 704883"/>
                <a:gd name="connsiteX0" fmla="*/ 0 w 1803400"/>
                <a:gd name="connsiteY0" fmla="*/ 0 h 704851"/>
                <a:gd name="connsiteX1" fmla="*/ 101600 w 1803400"/>
                <a:gd name="connsiteY1" fmla="*/ 107950 h 704851"/>
                <a:gd name="connsiteX2" fmla="*/ 196850 w 1803400"/>
                <a:gd name="connsiteY2" fmla="*/ 203200 h 704851"/>
                <a:gd name="connsiteX3" fmla="*/ 368300 w 1803400"/>
                <a:gd name="connsiteY3" fmla="*/ 298450 h 704851"/>
                <a:gd name="connsiteX4" fmla="*/ 514350 w 1803400"/>
                <a:gd name="connsiteY4" fmla="*/ 361950 h 704851"/>
                <a:gd name="connsiteX5" fmla="*/ 723900 w 1803400"/>
                <a:gd name="connsiteY5" fmla="*/ 457200 h 704851"/>
                <a:gd name="connsiteX6" fmla="*/ 838200 w 1803400"/>
                <a:gd name="connsiteY6" fmla="*/ 508000 h 704851"/>
                <a:gd name="connsiteX7" fmla="*/ 939800 w 1803400"/>
                <a:gd name="connsiteY7" fmla="*/ 571500 h 704851"/>
                <a:gd name="connsiteX8" fmla="*/ 1066800 w 1803400"/>
                <a:gd name="connsiteY8" fmla="*/ 622300 h 704851"/>
                <a:gd name="connsiteX9" fmla="*/ 1162050 w 1803400"/>
                <a:gd name="connsiteY9" fmla="*/ 673100 h 704851"/>
                <a:gd name="connsiteX10" fmla="*/ 1225550 w 1803400"/>
                <a:gd name="connsiteY10" fmla="*/ 704850 h 704851"/>
                <a:gd name="connsiteX11" fmla="*/ 1803400 w 1803400"/>
                <a:gd name="connsiteY11" fmla="*/ 692150 h 704851"/>
                <a:gd name="connsiteX0" fmla="*/ 0 w 1225550"/>
                <a:gd name="connsiteY0" fmla="*/ 0 h 704850"/>
                <a:gd name="connsiteX1" fmla="*/ 101600 w 1225550"/>
                <a:gd name="connsiteY1" fmla="*/ 107950 h 704850"/>
                <a:gd name="connsiteX2" fmla="*/ 196850 w 1225550"/>
                <a:gd name="connsiteY2" fmla="*/ 203200 h 704850"/>
                <a:gd name="connsiteX3" fmla="*/ 368300 w 1225550"/>
                <a:gd name="connsiteY3" fmla="*/ 298450 h 704850"/>
                <a:gd name="connsiteX4" fmla="*/ 514350 w 1225550"/>
                <a:gd name="connsiteY4" fmla="*/ 361950 h 704850"/>
                <a:gd name="connsiteX5" fmla="*/ 723900 w 1225550"/>
                <a:gd name="connsiteY5" fmla="*/ 457200 h 704850"/>
                <a:gd name="connsiteX6" fmla="*/ 838200 w 1225550"/>
                <a:gd name="connsiteY6" fmla="*/ 508000 h 704850"/>
                <a:gd name="connsiteX7" fmla="*/ 939800 w 1225550"/>
                <a:gd name="connsiteY7" fmla="*/ 571500 h 704850"/>
                <a:gd name="connsiteX8" fmla="*/ 1066800 w 1225550"/>
                <a:gd name="connsiteY8" fmla="*/ 622300 h 704850"/>
                <a:gd name="connsiteX9" fmla="*/ 1162050 w 1225550"/>
                <a:gd name="connsiteY9" fmla="*/ 673100 h 704850"/>
                <a:gd name="connsiteX10" fmla="*/ 1225550 w 1225550"/>
                <a:gd name="connsiteY10" fmla="*/ 704850 h 704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25550" h="704850">
                  <a:moveTo>
                    <a:pt x="0" y="0"/>
                  </a:moveTo>
                  <a:cubicBezTo>
                    <a:pt x="34396" y="36512"/>
                    <a:pt x="68792" y="74083"/>
                    <a:pt x="101600" y="107950"/>
                  </a:cubicBezTo>
                  <a:cubicBezTo>
                    <a:pt x="134408" y="141817"/>
                    <a:pt x="152400" y="171450"/>
                    <a:pt x="196850" y="203200"/>
                  </a:cubicBezTo>
                  <a:cubicBezTo>
                    <a:pt x="241300" y="234950"/>
                    <a:pt x="315383" y="271992"/>
                    <a:pt x="368300" y="298450"/>
                  </a:cubicBezTo>
                  <a:cubicBezTo>
                    <a:pt x="421217" y="324908"/>
                    <a:pt x="514350" y="361950"/>
                    <a:pt x="514350" y="361950"/>
                  </a:cubicBezTo>
                  <a:lnTo>
                    <a:pt x="723900" y="457200"/>
                  </a:lnTo>
                  <a:cubicBezTo>
                    <a:pt x="777875" y="481542"/>
                    <a:pt x="802217" y="488950"/>
                    <a:pt x="838200" y="508000"/>
                  </a:cubicBezTo>
                  <a:cubicBezTo>
                    <a:pt x="874183" y="527050"/>
                    <a:pt x="901700" y="552450"/>
                    <a:pt x="939800" y="571500"/>
                  </a:cubicBezTo>
                  <a:cubicBezTo>
                    <a:pt x="977900" y="590550"/>
                    <a:pt x="1029758" y="605367"/>
                    <a:pt x="1066800" y="622300"/>
                  </a:cubicBezTo>
                  <a:cubicBezTo>
                    <a:pt x="1103842" y="639233"/>
                    <a:pt x="1135592" y="659342"/>
                    <a:pt x="1162050" y="673100"/>
                  </a:cubicBezTo>
                  <a:cubicBezTo>
                    <a:pt x="1188508" y="686858"/>
                    <a:pt x="1118658" y="701675"/>
                    <a:pt x="1225550" y="704850"/>
                  </a:cubicBezTo>
                </a:path>
              </a:pathLst>
            </a:custGeom>
            <a:noFill/>
            <a:ln w="76200" cap="rnd" cmpd="sng" algn="ctr">
              <a:solidFill>
                <a:srgbClr val="00B050">
                  <a:alpha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3501FCF5-C4E7-F07A-F002-26D12E172755}"/>
                </a:ext>
              </a:extLst>
            </p:cNvPr>
            <p:cNvSpPr/>
            <p:nvPr/>
          </p:nvSpPr>
          <p:spPr>
            <a:xfrm>
              <a:off x="7594360" y="4663809"/>
              <a:ext cx="455891" cy="20502"/>
            </a:xfrm>
            <a:custGeom>
              <a:avLst/>
              <a:gdLst>
                <a:gd name="connsiteX0" fmla="*/ 0 w 1803400"/>
                <a:gd name="connsiteY0" fmla="*/ 0 h 708073"/>
                <a:gd name="connsiteX1" fmla="*/ 101600 w 1803400"/>
                <a:gd name="connsiteY1" fmla="*/ 107950 h 708073"/>
                <a:gd name="connsiteX2" fmla="*/ 196850 w 1803400"/>
                <a:gd name="connsiteY2" fmla="*/ 203200 h 708073"/>
                <a:gd name="connsiteX3" fmla="*/ 368300 w 1803400"/>
                <a:gd name="connsiteY3" fmla="*/ 298450 h 708073"/>
                <a:gd name="connsiteX4" fmla="*/ 514350 w 1803400"/>
                <a:gd name="connsiteY4" fmla="*/ 361950 h 708073"/>
                <a:gd name="connsiteX5" fmla="*/ 723900 w 1803400"/>
                <a:gd name="connsiteY5" fmla="*/ 457200 h 708073"/>
                <a:gd name="connsiteX6" fmla="*/ 838200 w 1803400"/>
                <a:gd name="connsiteY6" fmla="*/ 508000 h 708073"/>
                <a:gd name="connsiteX7" fmla="*/ 939800 w 1803400"/>
                <a:gd name="connsiteY7" fmla="*/ 571500 h 708073"/>
                <a:gd name="connsiteX8" fmla="*/ 1066800 w 1803400"/>
                <a:gd name="connsiteY8" fmla="*/ 622300 h 708073"/>
                <a:gd name="connsiteX9" fmla="*/ 1162050 w 1803400"/>
                <a:gd name="connsiteY9" fmla="*/ 673100 h 708073"/>
                <a:gd name="connsiteX10" fmla="*/ 1225550 w 1803400"/>
                <a:gd name="connsiteY10" fmla="*/ 704850 h 708073"/>
                <a:gd name="connsiteX11" fmla="*/ 1390650 w 1803400"/>
                <a:gd name="connsiteY11" fmla="*/ 704850 h 708073"/>
                <a:gd name="connsiteX12" fmla="*/ 1536700 w 1803400"/>
                <a:gd name="connsiteY12" fmla="*/ 685800 h 708073"/>
                <a:gd name="connsiteX13" fmla="*/ 1689100 w 1803400"/>
                <a:gd name="connsiteY13" fmla="*/ 679450 h 708073"/>
                <a:gd name="connsiteX14" fmla="*/ 1803400 w 1803400"/>
                <a:gd name="connsiteY14" fmla="*/ 692150 h 708073"/>
                <a:gd name="connsiteX0" fmla="*/ 0 w 1803400"/>
                <a:gd name="connsiteY0" fmla="*/ 0 h 708073"/>
                <a:gd name="connsiteX1" fmla="*/ 196850 w 1803400"/>
                <a:gd name="connsiteY1" fmla="*/ 203200 h 708073"/>
                <a:gd name="connsiteX2" fmla="*/ 368300 w 1803400"/>
                <a:gd name="connsiteY2" fmla="*/ 298450 h 708073"/>
                <a:gd name="connsiteX3" fmla="*/ 514350 w 1803400"/>
                <a:gd name="connsiteY3" fmla="*/ 361950 h 708073"/>
                <a:gd name="connsiteX4" fmla="*/ 723900 w 1803400"/>
                <a:gd name="connsiteY4" fmla="*/ 457200 h 708073"/>
                <a:gd name="connsiteX5" fmla="*/ 838200 w 1803400"/>
                <a:gd name="connsiteY5" fmla="*/ 508000 h 708073"/>
                <a:gd name="connsiteX6" fmla="*/ 939800 w 1803400"/>
                <a:gd name="connsiteY6" fmla="*/ 571500 h 708073"/>
                <a:gd name="connsiteX7" fmla="*/ 1066800 w 1803400"/>
                <a:gd name="connsiteY7" fmla="*/ 622300 h 708073"/>
                <a:gd name="connsiteX8" fmla="*/ 1162050 w 1803400"/>
                <a:gd name="connsiteY8" fmla="*/ 673100 h 708073"/>
                <a:gd name="connsiteX9" fmla="*/ 1225550 w 1803400"/>
                <a:gd name="connsiteY9" fmla="*/ 704850 h 708073"/>
                <a:gd name="connsiteX10" fmla="*/ 1390650 w 1803400"/>
                <a:gd name="connsiteY10" fmla="*/ 704850 h 708073"/>
                <a:gd name="connsiteX11" fmla="*/ 1536700 w 1803400"/>
                <a:gd name="connsiteY11" fmla="*/ 685800 h 708073"/>
                <a:gd name="connsiteX12" fmla="*/ 1689100 w 1803400"/>
                <a:gd name="connsiteY12" fmla="*/ 679450 h 708073"/>
                <a:gd name="connsiteX13" fmla="*/ 1803400 w 1803400"/>
                <a:gd name="connsiteY13" fmla="*/ 692150 h 708073"/>
                <a:gd name="connsiteX0" fmla="*/ 0 w 1803400"/>
                <a:gd name="connsiteY0" fmla="*/ 0 h 708073"/>
                <a:gd name="connsiteX1" fmla="*/ 368300 w 1803400"/>
                <a:gd name="connsiteY1" fmla="*/ 298450 h 708073"/>
                <a:gd name="connsiteX2" fmla="*/ 514350 w 1803400"/>
                <a:gd name="connsiteY2" fmla="*/ 361950 h 708073"/>
                <a:gd name="connsiteX3" fmla="*/ 723900 w 1803400"/>
                <a:gd name="connsiteY3" fmla="*/ 457200 h 708073"/>
                <a:gd name="connsiteX4" fmla="*/ 838200 w 1803400"/>
                <a:gd name="connsiteY4" fmla="*/ 508000 h 708073"/>
                <a:gd name="connsiteX5" fmla="*/ 939800 w 1803400"/>
                <a:gd name="connsiteY5" fmla="*/ 571500 h 708073"/>
                <a:gd name="connsiteX6" fmla="*/ 1066800 w 1803400"/>
                <a:gd name="connsiteY6" fmla="*/ 622300 h 708073"/>
                <a:gd name="connsiteX7" fmla="*/ 1162050 w 1803400"/>
                <a:gd name="connsiteY7" fmla="*/ 673100 h 708073"/>
                <a:gd name="connsiteX8" fmla="*/ 1225550 w 1803400"/>
                <a:gd name="connsiteY8" fmla="*/ 704850 h 708073"/>
                <a:gd name="connsiteX9" fmla="*/ 1390650 w 1803400"/>
                <a:gd name="connsiteY9" fmla="*/ 704850 h 708073"/>
                <a:gd name="connsiteX10" fmla="*/ 1536700 w 1803400"/>
                <a:gd name="connsiteY10" fmla="*/ 685800 h 708073"/>
                <a:gd name="connsiteX11" fmla="*/ 1689100 w 1803400"/>
                <a:gd name="connsiteY11" fmla="*/ 679450 h 708073"/>
                <a:gd name="connsiteX12" fmla="*/ 1803400 w 1803400"/>
                <a:gd name="connsiteY12" fmla="*/ 692150 h 708073"/>
                <a:gd name="connsiteX0" fmla="*/ 0 w 1803400"/>
                <a:gd name="connsiteY0" fmla="*/ 0 h 708073"/>
                <a:gd name="connsiteX1" fmla="*/ 514350 w 1803400"/>
                <a:gd name="connsiteY1" fmla="*/ 361950 h 708073"/>
                <a:gd name="connsiteX2" fmla="*/ 723900 w 1803400"/>
                <a:gd name="connsiteY2" fmla="*/ 457200 h 708073"/>
                <a:gd name="connsiteX3" fmla="*/ 838200 w 1803400"/>
                <a:gd name="connsiteY3" fmla="*/ 508000 h 708073"/>
                <a:gd name="connsiteX4" fmla="*/ 939800 w 1803400"/>
                <a:gd name="connsiteY4" fmla="*/ 571500 h 708073"/>
                <a:gd name="connsiteX5" fmla="*/ 1066800 w 1803400"/>
                <a:gd name="connsiteY5" fmla="*/ 622300 h 708073"/>
                <a:gd name="connsiteX6" fmla="*/ 1162050 w 1803400"/>
                <a:gd name="connsiteY6" fmla="*/ 673100 h 708073"/>
                <a:gd name="connsiteX7" fmla="*/ 1225550 w 1803400"/>
                <a:gd name="connsiteY7" fmla="*/ 704850 h 708073"/>
                <a:gd name="connsiteX8" fmla="*/ 1390650 w 1803400"/>
                <a:gd name="connsiteY8" fmla="*/ 704850 h 708073"/>
                <a:gd name="connsiteX9" fmla="*/ 1536700 w 1803400"/>
                <a:gd name="connsiteY9" fmla="*/ 685800 h 708073"/>
                <a:gd name="connsiteX10" fmla="*/ 1689100 w 1803400"/>
                <a:gd name="connsiteY10" fmla="*/ 679450 h 708073"/>
                <a:gd name="connsiteX11" fmla="*/ 1803400 w 1803400"/>
                <a:gd name="connsiteY11" fmla="*/ 692150 h 708073"/>
                <a:gd name="connsiteX0" fmla="*/ 0 w 1803400"/>
                <a:gd name="connsiteY0" fmla="*/ 0 h 708073"/>
                <a:gd name="connsiteX1" fmla="*/ 723900 w 1803400"/>
                <a:gd name="connsiteY1" fmla="*/ 457200 h 708073"/>
                <a:gd name="connsiteX2" fmla="*/ 838200 w 1803400"/>
                <a:gd name="connsiteY2" fmla="*/ 508000 h 708073"/>
                <a:gd name="connsiteX3" fmla="*/ 939800 w 1803400"/>
                <a:gd name="connsiteY3" fmla="*/ 571500 h 708073"/>
                <a:gd name="connsiteX4" fmla="*/ 1066800 w 1803400"/>
                <a:gd name="connsiteY4" fmla="*/ 622300 h 708073"/>
                <a:gd name="connsiteX5" fmla="*/ 1162050 w 1803400"/>
                <a:gd name="connsiteY5" fmla="*/ 673100 h 708073"/>
                <a:gd name="connsiteX6" fmla="*/ 1225550 w 1803400"/>
                <a:gd name="connsiteY6" fmla="*/ 704850 h 708073"/>
                <a:gd name="connsiteX7" fmla="*/ 1390650 w 1803400"/>
                <a:gd name="connsiteY7" fmla="*/ 704850 h 708073"/>
                <a:gd name="connsiteX8" fmla="*/ 1536700 w 1803400"/>
                <a:gd name="connsiteY8" fmla="*/ 685800 h 708073"/>
                <a:gd name="connsiteX9" fmla="*/ 1689100 w 1803400"/>
                <a:gd name="connsiteY9" fmla="*/ 679450 h 708073"/>
                <a:gd name="connsiteX10" fmla="*/ 1803400 w 1803400"/>
                <a:gd name="connsiteY10" fmla="*/ 692150 h 708073"/>
                <a:gd name="connsiteX0" fmla="*/ 0 w 1803400"/>
                <a:gd name="connsiteY0" fmla="*/ 0 h 708073"/>
                <a:gd name="connsiteX1" fmla="*/ 838200 w 1803400"/>
                <a:gd name="connsiteY1" fmla="*/ 508000 h 708073"/>
                <a:gd name="connsiteX2" fmla="*/ 939800 w 1803400"/>
                <a:gd name="connsiteY2" fmla="*/ 571500 h 708073"/>
                <a:gd name="connsiteX3" fmla="*/ 1066800 w 1803400"/>
                <a:gd name="connsiteY3" fmla="*/ 622300 h 708073"/>
                <a:gd name="connsiteX4" fmla="*/ 1162050 w 1803400"/>
                <a:gd name="connsiteY4" fmla="*/ 673100 h 708073"/>
                <a:gd name="connsiteX5" fmla="*/ 1225550 w 1803400"/>
                <a:gd name="connsiteY5" fmla="*/ 704850 h 708073"/>
                <a:gd name="connsiteX6" fmla="*/ 1390650 w 1803400"/>
                <a:gd name="connsiteY6" fmla="*/ 704850 h 708073"/>
                <a:gd name="connsiteX7" fmla="*/ 1536700 w 1803400"/>
                <a:gd name="connsiteY7" fmla="*/ 685800 h 708073"/>
                <a:gd name="connsiteX8" fmla="*/ 1689100 w 1803400"/>
                <a:gd name="connsiteY8" fmla="*/ 679450 h 708073"/>
                <a:gd name="connsiteX9" fmla="*/ 1803400 w 1803400"/>
                <a:gd name="connsiteY9" fmla="*/ 692150 h 708073"/>
                <a:gd name="connsiteX0" fmla="*/ 0 w 1803400"/>
                <a:gd name="connsiteY0" fmla="*/ 0 h 708073"/>
                <a:gd name="connsiteX1" fmla="*/ 939800 w 1803400"/>
                <a:gd name="connsiteY1" fmla="*/ 571500 h 708073"/>
                <a:gd name="connsiteX2" fmla="*/ 1066800 w 1803400"/>
                <a:gd name="connsiteY2" fmla="*/ 622300 h 708073"/>
                <a:gd name="connsiteX3" fmla="*/ 1162050 w 1803400"/>
                <a:gd name="connsiteY3" fmla="*/ 673100 h 708073"/>
                <a:gd name="connsiteX4" fmla="*/ 1225550 w 1803400"/>
                <a:gd name="connsiteY4" fmla="*/ 704850 h 708073"/>
                <a:gd name="connsiteX5" fmla="*/ 1390650 w 1803400"/>
                <a:gd name="connsiteY5" fmla="*/ 704850 h 708073"/>
                <a:gd name="connsiteX6" fmla="*/ 1536700 w 1803400"/>
                <a:gd name="connsiteY6" fmla="*/ 685800 h 708073"/>
                <a:gd name="connsiteX7" fmla="*/ 1689100 w 1803400"/>
                <a:gd name="connsiteY7" fmla="*/ 679450 h 708073"/>
                <a:gd name="connsiteX8" fmla="*/ 1803400 w 1803400"/>
                <a:gd name="connsiteY8" fmla="*/ 692150 h 708073"/>
                <a:gd name="connsiteX0" fmla="*/ 0 w 1803400"/>
                <a:gd name="connsiteY0" fmla="*/ 0 h 708073"/>
                <a:gd name="connsiteX1" fmla="*/ 1066800 w 1803400"/>
                <a:gd name="connsiteY1" fmla="*/ 622300 h 708073"/>
                <a:gd name="connsiteX2" fmla="*/ 1162050 w 1803400"/>
                <a:gd name="connsiteY2" fmla="*/ 673100 h 708073"/>
                <a:gd name="connsiteX3" fmla="*/ 1225550 w 1803400"/>
                <a:gd name="connsiteY3" fmla="*/ 704850 h 708073"/>
                <a:gd name="connsiteX4" fmla="*/ 1390650 w 1803400"/>
                <a:gd name="connsiteY4" fmla="*/ 704850 h 708073"/>
                <a:gd name="connsiteX5" fmla="*/ 1536700 w 1803400"/>
                <a:gd name="connsiteY5" fmla="*/ 685800 h 708073"/>
                <a:gd name="connsiteX6" fmla="*/ 1689100 w 1803400"/>
                <a:gd name="connsiteY6" fmla="*/ 679450 h 708073"/>
                <a:gd name="connsiteX7" fmla="*/ 1803400 w 1803400"/>
                <a:gd name="connsiteY7" fmla="*/ 692150 h 708073"/>
                <a:gd name="connsiteX0" fmla="*/ 0 w 1803400"/>
                <a:gd name="connsiteY0" fmla="*/ 0 h 708073"/>
                <a:gd name="connsiteX1" fmla="*/ 1162050 w 1803400"/>
                <a:gd name="connsiteY1" fmla="*/ 673100 h 708073"/>
                <a:gd name="connsiteX2" fmla="*/ 1225550 w 1803400"/>
                <a:gd name="connsiteY2" fmla="*/ 704850 h 708073"/>
                <a:gd name="connsiteX3" fmla="*/ 1390650 w 1803400"/>
                <a:gd name="connsiteY3" fmla="*/ 704850 h 708073"/>
                <a:gd name="connsiteX4" fmla="*/ 1536700 w 1803400"/>
                <a:gd name="connsiteY4" fmla="*/ 685800 h 708073"/>
                <a:gd name="connsiteX5" fmla="*/ 1689100 w 1803400"/>
                <a:gd name="connsiteY5" fmla="*/ 679450 h 708073"/>
                <a:gd name="connsiteX6" fmla="*/ 1803400 w 1803400"/>
                <a:gd name="connsiteY6" fmla="*/ 692150 h 708073"/>
                <a:gd name="connsiteX0" fmla="*/ 0 w 1803400"/>
                <a:gd name="connsiteY0" fmla="*/ 0 h 708073"/>
                <a:gd name="connsiteX1" fmla="*/ 1225550 w 1803400"/>
                <a:gd name="connsiteY1" fmla="*/ 704850 h 708073"/>
                <a:gd name="connsiteX2" fmla="*/ 1390650 w 1803400"/>
                <a:gd name="connsiteY2" fmla="*/ 704850 h 708073"/>
                <a:gd name="connsiteX3" fmla="*/ 1536700 w 1803400"/>
                <a:gd name="connsiteY3" fmla="*/ 685800 h 708073"/>
                <a:gd name="connsiteX4" fmla="*/ 1689100 w 1803400"/>
                <a:gd name="connsiteY4" fmla="*/ 679450 h 708073"/>
                <a:gd name="connsiteX5" fmla="*/ 1803400 w 1803400"/>
                <a:gd name="connsiteY5" fmla="*/ 692150 h 708073"/>
                <a:gd name="connsiteX0" fmla="*/ 0 w 577850"/>
                <a:gd name="connsiteY0" fmla="*/ 25606 h 28829"/>
                <a:gd name="connsiteX1" fmla="*/ 165100 w 577850"/>
                <a:gd name="connsiteY1" fmla="*/ 25606 h 28829"/>
                <a:gd name="connsiteX2" fmla="*/ 311150 w 577850"/>
                <a:gd name="connsiteY2" fmla="*/ 6556 h 28829"/>
                <a:gd name="connsiteX3" fmla="*/ 463550 w 577850"/>
                <a:gd name="connsiteY3" fmla="*/ 206 h 28829"/>
                <a:gd name="connsiteX4" fmla="*/ 577850 w 577850"/>
                <a:gd name="connsiteY4" fmla="*/ 12906 h 28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7850" h="28829">
                  <a:moveTo>
                    <a:pt x="0" y="25606"/>
                  </a:moveTo>
                  <a:cubicBezTo>
                    <a:pt x="38100" y="30898"/>
                    <a:pt x="113242" y="28781"/>
                    <a:pt x="165100" y="25606"/>
                  </a:cubicBezTo>
                  <a:cubicBezTo>
                    <a:pt x="216958" y="22431"/>
                    <a:pt x="261408" y="10789"/>
                    <a:pt x="311150" y="6556"/>
                  </a:cubicBezTo>
                  <a:cubicBezTo>
                    <a:pt x="360892" y="2323"/>
                    <a:pt x="419100" y="-852"/>
                    <a:pt x="463550" y="206"/>
                  </a:cubicBezTo>
                  <a:cubicBezTo>
                    <a:pt x="508000" y="1264"/>
                    <a:pt x="542925" y="7085"/>
                    <a:pt x="577850" y="12906"/>
                  </a:cubicBezTo>
                </a:path>
              </a:pathLst>
            </a:custGeom>
            <a:noFill/>
            <a:ln w="76200" cap="rnd" cmpd="sng" algn="ctr">
              <a:solidFill>
                <a:srgbClr val="00B050">
                  <a:alpha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54282E45-631D-57BD-E09B-2836BC4DDCE6}"/>
                </a:ext>
              </a:extLst>
            </p:cNvPr>
            <p:cNvSpPr/>
            <p:nvPr/>
          </p:nvSpPr>
          <p:spPr>
            <a:xfrm>
              <a:off x="5399637" y="2863843"/>
              <a:ext cx="686657" cy="688055"/>
            </a:xfrm>
            <a:custGeom>
              <a:avLst/>
              <a:gdLst>
                <a:gd name="connsiteX0" fmla="*/ 637954 w 637954"/>
                <a:gd name="connsiteY0" fmla="*/ 606056 h 606056"/>
                <a:gd name="connsiteX1" fmla="*/ 308345 w 637954"/>
                <a:gd name="connsiteY1" fmla="*/ 297712 h 606056"/>
                <a:gd name="connsiteX2" fmla="*/ 106326 w 637954"/>
                <a:gd name="connsiteY2" fmla="*/ 21265 h 606056"/>
                <a:gd name="connsiteX3" fmla="*/ 0 w 637954"/>
                <a:gd name="connsiteY3" fmla="*/ 0 h 606056"/>
                <a:gd name="connsiteX4" fmla="*/ 0 w 637954"/>
                <a:gd name="connsiteY4" fmla="*/ 0 h 606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7954" h="606056">
                  <a:moveTo>
                    <a:pt x="637954" y="606056"/>
                  </a:moveTo>
                  <a:lnTo>
                    <a:pt x="308345" y="297712"/>
                  </a:lnTo>
                  <a:lnTo>
                    <a:pt x="106326" y="21265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 w="76200">
              <a:solidFill>
                <a:srgbClr val="00B050">
                  <a:alpha val="5000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7FA0F231-44E4-61B6-29C3-806AB9A7AB87}"/>
              </a:ext>
            </a:extLst>
          </p:cNvPr>
          <p:cNvSpPr txBox="1"/>
          <p:nvPr/>
        </p:nvSpPr>
        <p:spPr>
          <a:xfrm>
            <a:off x="1713409" y="5066863"/>
            <a:ext cx="976159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>
                <a:solidFill>
                  <a:schemeClr val="accent3"/>
                </a:solidFill>
                <a:highlight>
                  <a:srgbClr val="FFFFFF"/>
                </a:highlight>
                <a:latin typeface="+mj-lt"/>
                <a:cs typeface="Calibri Light"/>
              </a:rPr>
              <a:t>Common Capacity corridor along the NGTL mainline can be used to accommodate Firm Transportation - Delivery service at the Empress and McNeill Group 1 Delivery Points, as well as certain Group 2 and Group 3 Delivery Points subject to assessment</a:t>
            </a:r>
            <a:endParaRPr lang="en-US" sz="1400" strike="sngStrike">
              <a:solidFill>
                <a:schemeClr val="accent3"/>
              </a:solidFill>
              <a:highlight>
                <a:srgbClr val="00FFFF"/>
              </a:highlight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A0CE9F3-E6E3-FA0C-1AF6-F546C9EA007A}"/>
              </a:ext>
            </a:extLst>
          </p:cNvPr>
          <p:cNvGrpSpPr/>
          <p:nvPr/>
        </p:nvGrpSpPr>
        <p:grpSpPr>
          <a:xfrm>
            <a:off x="878960" y="5120020"/>
            <a:ext cx="792481" cy="369332"/>
            <a:chOff x="866503" y="5122426"/>
            <a:chExt cx="792481" cy="369332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888E19E-9042-3673-9181-C2430C15F782}"/>
                </a:ext>
              </a:extLst>
            </p:cNvPr>
            <p:cNvSpPr/>
            <p:nvPr/>
          </p:nvSpPr>
          <p:spPr>
            <a:xfrm>
              <a:off x="866503" y="5122426"/>
              <a:ext cx="792481" cy="369332"/>
            </a:xfrm>
            <a:prstGeom prst="rect">
              <a:avLst/>
            </a:prstGeom>
            <a:noFill/>
            <a:ln w="28575">
              <a:solidFill>
                <a:schemeClr val="tx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BA195434-AD35-9335-77BB-B584B8C47A33}"/>
                </a:ext>
              </a:extLst>
            </p:cNvPr>
            <p:cNvCxnSpPr/>
            <p:nvPr/>
          </p:nvCxnSpPr>
          <p:spPr>
            <a:xfrm>
              <a:off x="920928" y="5314348"/>
              <a:ext cx="682752" cy="0"/>
            </a:xfrm>
            <a:prstGeom prst="line">
              <a:avLst/>
            </a:prstGeom>
            <a:noFill/>
            <a:ln w="76200">
              <a:solidFill>
                <a:srgbClr val="00B050">
                  <a:alpha val="50000"/>
                </a:srgb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687E1BEF-827D-6EBA-56A2-4671BB64FA2A}"/>
              </a:ext>
            </a:extLst>
          </p:cNvPr>
          <p:cNvSpPr txBox="1"/>
          <p:nvPr/>
        </p:nvSpPr>
        <p:spPr>
          <a:xfrm>
            <a:off x="1671441" y="227627"/>
            <a:ext cx="8350384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b="1">
                <a:solidFill>
                  <a:schemeClr val="accent3"/>
                </a:solidFill>
                <a:latin typeface="+mj-lt"/>
                <a:cs typeface="Calibri Light"/>
              </a:rPr>
              <a:t>NGTL map outlining common capacity corridor for the Empress and McNeill FTD Expansion Open Season</a:t>
            </a:r>
            <a:endParaRPr lang="en-US" sz="2000" b="1">
              <a:solidFill>
                <a:schemeClr val="accent3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0DC759A-2933-8136-09CB-A8E4486BE00D}"/>
              </a:ext>
            </a:extLst>
          </p:cNvPr>
          <p:cNvSpPr/>
          <p:nvPr/>
        </p:nvSpPr>
        <p:spPr>
          <a:xfrm>
            <a:off x="866502" y="5683478"/>
            <a:ext cx="10466515" cy="64611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>
                <a:latin typeface="+mj-lt"/>
              </a:rPr>
              <a:t>For details on Open Season bidding, allocation, and awarding processes, please refer to the Customer Express posting through this </a:t>
            </a:r>
            <a:r>
              <a:rPr lang="en-US" sz="2000" b="1">
                <a:latin typeface="+mj-lt"/>
                <a:hlinkClick r:id="rId4"/>
              </a:rPr>
              <a:t>link</a:t>
            </a:r>
            <a:r>
              <a:rPr lang="en-US" sz="2000" b="1">
                <a:latin typeface="+mj-lt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842981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SLIDO_APP_VERSION" val="1.6.1.4122"/>
  <p:tag name="SLIDO_PRESENTATION_ID" val="00000000-0000-0000-0000-000000000000"/>
  <p:tag name="SLIDO_EVENT_UUID" val="e3b06e49-3026-45f1-9124-d287b744c817"/>
  <p:tag name="SLIDO_EVENT_SECTION_UUID" val="57eef7b1-4a37-41e7-ab01-7c9b66f65d7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TCE - 2023 Refresh">
      <a:dk1>
        <a:srgbClr val="0D64EF"/>
      </a:dk1>
      <a:lt1>
        <a:srgbClr val="FFFFFF"/>
      </a:lt1>
      <a:dk2>
        <a:srgbClr val="191919"/>
      </a:dk2>
      <a:lt2>
        <a:srgbClr val="E7E6E6"/>
      </a:lt2>
      <a:accent1>
        <a:srgbClr val="0D64EF"/>
      </a:accent1>
      <a:accent2>
        <a:srgbClr val="3FCFD5"/>
      </a:accent2>
      <a:accent3>
        <a:srgbClr val="002366"/>
      </a:accent3>
      <a:accent4>
        <a:srgbClr val="89CFF0"/>
      </a:accent4>
      <a:accent5>
        <a:srgbClr val="C1F50E"/>
      </a:accent5>
      <a:accent6>
        <a:srgbClr val="20799E"/>
      </a:accent6>
      <a:hlink>
        <a:srgbClr val="80E271"/>
      </a:hlink>
      <a:folHlink>
        <a:srgbClr val="2699E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>
        <a:spAutoFit/>
      </a:bodyPr>
      <a:lstStyle>
        <a:defPPr marL="173038" indent="-173038" algn="l">
          <a:buFont typeface="Wingdings" panose="05000000000000000000" pitchFamily="2" charset="2"/>
          <a:buChar char="ü"/>
          <a:defRPr sz="1400" dirty="0" smtClean="0">
            <a:solidFill>
              <a:schemeClr val="bg1"/>
            </a:solidFill>
            <a:latin typeface="+mj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C Energy - Base Template.potx" id="{F97E408E-56C8-4E37-9655-4C9E437C67A0}" vid="{8F739D33-678F-441F-8643-820A35656D8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2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ECA78143-9D98-4D52-B192-9AAB396809B9}">
  <we:reference id="e5263ec5-2e80-4a1e-9853-8d99118877c8" version="1.0.0.0" store="EXCatalog" storeType="EXCatalog"/>
  <we:alternateReferences/>
  <we:properties>
    <we:property name="MfxPersistedWebPartData" value="&quot;{\&quot;id\&quot;:\&quot;9618ab77-5f01-4bc1-9215-a074d87e0316\&quot;,\&quot;instanceId\&quot;:\&quot;dcd5234e-5081-43ff-8d92-3083b3aa2fc9\&quot;,\&quot;title\&quot;:\&quot;PowerPoint addin (GO)\&quot;,\&quot;description\&quot;:\&quot;An intranet addin for PowerPoint.\&quot;,\&quot;audiences\&quot;:[],\&quot;serverProcessedContent\&quot;:{\&quot;htmlStrings\&quot;:{},\&quot;searchablePlainTexts\&quot;:{},\&quot;imageSources\&quot;:{},\&quot;links\&quot;:{}},\&quot;dataVersion\&quot;:\&quot;1.0\&quot;,\&quot;properties\&quot;:{\&quot;webPartTitle\&quot;:\&quot;\&quot;,\&quot;changedProperties\&quot;:[]},\&quot;containsDynamicDataSource\&quot;:false}&quot;"/>
  </we:properties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b9111281-08b0-4edb-be6e-7f002475557a" xsi:nil="true"/>
    <lcf76f155ced4ddcb4097134ff3c332f xmlns="24639008-0ecd-432c-8e68-788d62f59f87">
      <Terms xmlns="http://schemas.microsoft.com/office/infopath/2007/PartnerControls"/>
    </lcf76f155ced4ddcb4097134ff3c332f>
    <SharedWithUsers xmlns="b9111281-08b0-4edb-be6e-7f002475557a">
      <UserInfo>
        <DisplayName>Roman Karski</DisplayName>
        <AccountId>104</AccountId>
        <AccountType/>
      </UserInfo>
      <UserInfo>
        <DisplayName>Sara Bendall</DisplayName>
        <AccountId>651</AccountId>
        <AccountType/>
      </UserInfo>
      <UserInfo>
        <DisplayName>Andy Tse</DisplayName>
        <AccountId>505</AccountId>
        <AccountType/>
      </UserInfo>
      <UserInfo>
        <DisplayName>Alex Harris</DisplayName>
        <AccountId>63</AccountId>
        <AccountType/>
      </UserInfo>
      <UserInfo>
        <DisplayName>Christine Black</DisplayName>
        <AccountId>14</AccountId>
        <AccountType/>
      </UserInfo>
      <UserInfo>
        <DisplayName>Glenn Smetheram*</DisplayName>
        <AccountId>29</AccountId>
        <AccountType/>
      </UserInfo>
      <UserInfo>
        <DisplayName>Kelsey Johannson</DisplayName>
        <AccountId>686</AccountId>
        <AccountType/>
      </UserInfo>
      <UserInfo>
        <DisplayName>Eugene Kosarev*</DisplayName>
        <AccountId>1517</AccountId>
        <AccountType/>
      </UserInfo>
      <UserInfo>
        <DisplayName>Cynthia Loke</DisplayName>
        <AccountId>464</AccountId>
        <AccountType/>
      </UserInfo>
      <UserInfo>
        <DisplayName>Dana Sawatzky</DisplayName>
        <AccountId>112</AccountId>
        <AccountType/>
      </UserInfo>
      <UserInfo>
        <DisplayName>Megan Kozak</DisplayName>
        <AccountId>1542</AccountId>
        <AccountType/>
      </UserInfo>
      <UserInfo>
        <DisplayName>Colin Cooper</DisplayName>
        <AccountId>419</AccountId>
        <AccountType/>
      </UserInfo>
      <UserInfo>
        <DisplayName>Jody Johnson</DisplayName>
        <AccountId>1479</AccountId>
        <AccountType/>
      </UserInfo>
      <UserInfo>
        <DisplayName>Andrea Jalbert</DisplayName>
        <AccountId>1471</AccountId>
        <AccountType/>
      </UserInfo>
      <UserInfo>
        <DisplayName>Joanne Unger</DisplayName>
        <AccountId>1231</AccountId>
        <AccountType/>
      </UserInfo>
      <UserInfo>
        <DisplayName>Jay White</DisplayName>
        <AccountId>321</AccountId>
        <AccountType/>
      </UserInfo>
      <UserInfo>
        <DisplayName>Fraser Mount</DisplayName>
        <AccountId>79</AccountId>
        <AccountType/>
      </UserInfo>
      <UserInfo>
        <DisplayName>Navroz Khimji</DisplayName>
        <AccountId>1734</AccountId>
        <AccountType/>
      </UserInfo>
      <UserInfo>
        <DisplayName>KATE Palmer</DisplayName>
        <AccountId>1361</AccountId>
        <AccountType/>
      </UserInfo>
      <UserInfo>
        <DisplayName>Penelope Echenagusia</DisplayName>
        <AccountId>86</AccountId>
        <AccountType/>
      </UserInfo>
      <UserInfo>
        <DisplayName>Erin Fong</DisplayName>
        <AccountId>335</AccountId>
        <AccountType/>
      </UserInfo>
      <UserInfo>
        <DisplayName>Alan Matheson</DisplayName>
        <AccountId>361</AccountId>
        <AccountType/>
      </UserInfo>
      <UserInfo>
        <DisplayName>Gordon Penny</DisplayName>
        <AccountId>479</AccountId>
        <AccountType/>
      </UserInfo>
      <UserInfo>
        <DisplayName>Brogen Solberg</DisplayName>
        <AccountId>1843</AccountId>
        <AccountType/>
      </UserInfo>
      <UserInfo>
        <DisplayName>Rosemary Stevens</DisplayName>
        <AccountId>774</AccountId>
        <AccountType/>
      </UserInfo>
      <UserInfo>
        <DisplayName>Bernard Pelletier</DisplayName>
        <AccountId>364</AccountId>
        <AccountType/>
      </UserInfo>
      <UserInfo>
        <DisplayName>Mike Ritsch</DisplayName>
        <AccountId>323</AccountId>
        <AccountType/>
      </UserInfo>
      <UserInfo>
        <DisplayName>Joel Forrest</DisplayName>
        <AccountId>617</AccountId>
        <AccountType/>
      </UserInfo>
      <UserInfo>
        <DisplayName>Ashley Stowkowy</DisplayName>
        <AccountId>15</AccountId>
        <AccountType/>
      </UserInfo>
      <UserInfo>
        <DisplayName>Heather Krislock</DisplayName>
        <AccountId>1084</AccountId>
        <AccountType/>
      </UserInfo>
      <UserInfo>
        <DisplayName>Grant Kuntz</DisplayName>
        <AccountId>62</AccountId>
        <AccountType/>
      </UserInfo>
      <UserInfo>
        <DisplayName>Tyler Cook</DisplayName>
        <AccountId>331</AccountId>
        <AccountType/>
      </UserInfo>
      <UserInfo>
        <DisplayName>Veronica Rojas</DisplayName>
        <AccountId>7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764C066FB5FA9418A0A473E964D1070" ma:contentTypeVersion="14" ma:contentTypeDescription="Create a new document." ma:contentTypeScope="" ma:versionID="eb514abbdf85b61a6b179f6b7bc2bd2c">
  <xsd:schema xmlns:xsd="http://www.w3.org/2001/XMLSchema" xmlns:xs="http://www.w3.org/2001/XMLSchema" xmlns:p="http://schemas.microsoft.com/office/2006/metadata/properties" xmlns:ns2="24639008-0ecd-432c-8e68-788d62f59f87" xmlns:ns3="b9111281-08b0-4edb-be6e-7f002475557a" targetNamespace="http://schemas.microsoft.com/office/2006/metadata/properties" ma:root="true" ma:fieldsID="d00d6fb0babf370dd5a8f944d7927fba" ns2:_="" ns3:_="">
    <xsd:import namespace="24639008-0ecd-432c-8e68-788d62f59f87"/>
    <xsd:import namespace="b9111281-08b0-4edb-be6e-7f002475557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Locatio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4639008-0ecd-432c-8e68-788d62f59f8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ef32e807-ea1f-4701-a6e0-24972aca76e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0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111281-08b0-4edb-be6e-7f002475557a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77183c4b-f01a-485d-8e5e-1b7f21e466f8}" ma:internalName="TaxCatchAll" ma:showField="CatchAllData" ma:web="b9111281-08b0-4edb-be6e-7f002475557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C44361A-9DD3-4815-A889-74CA9347116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EFC1B35-51D3-4FDA-9119-4285277BF920}">
  <ds:schemaRefs>
    <ds:schemaRef ds:uri="24639008-0ecd-432c-8e68-788d62f59f87"/>
    <ds:schemaRef ds:uri="b9111281-08b0-4edb-be6e-7f002475557a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32058CA8-3700-4FE1-8164-A949D5998DF1}">
  <ds:schemaRefs>
    <ds:schemaRef ds:uri="24639008-0ecd-432c-8e68-788d62f59f87"/>
    <ds:schemaRef ds:uri="b9111281-08b0-4edb-be6e-7f002475557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b0cee36c-225c-4f48-b60b-921f444b5698}" enabled="0" method="" siteId="{b0cee36c-225c-4f48-b60b-921f444b5698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TC Energy - Base Template</Template>
  <TotalTime>0</TotalTime>
  <Words>81</Words>
  <Application>Microsoft Office PowerPoint</Application>
  <PresentationFormat>Widescreen</PresentationFormat>
  <Paragraphs>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1_Office Theme</vt:lpstr>
      <vt:lpstr>think-cell Slide</vt:lpstr>
      <vt:lpstr>PowerPoint Presentation</vt:lpstr>
    </vt:vector>
  </TitlesOfParts>
  <Company>TC Energ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oolkit</dc:title>
  <dc:creator>Alain Dupuis</dc:creator>
  <cp:lastModifiedBy>Mike McEwen</cp:lastModifiedBy>
  <cp:revision>1</cp:revision>
  <cp:lastPrinted>2024-06-27T12:50:47Z</cp:lastPrinted>
  <dcterms:created xsi:type="dcterms:W3CDTF">2023-02-21T20:24:53Z</dcterms:created>
  <dcterms:modified xsi:type="dcterms:W3CDTF">2024-07-02T22:12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764C066FB5FA9418A0A473E964D1070</vt:lpwstr>
  </property>
  <property fmtid="{D5CDD505-2E9C-101B-9397-08002B2CF9AE}" pid="3" name="MediaServiceImageTags">
    <vt:lpwstr/>
  </property>
  <property fmtid="{D5CDD505-2E9C-101B-9397-08002B2CF9AE}" pid="4" name="SlidoAppVersion">
    <vt:lpwstr>1.6.1.4122</vt:lpwstr>
  </property>
  <property fmtid="{D5CDD505-2E9C-101B-9397-08002B2CF9AE}" pid="5" name="xd_ProgID">
    <vt:lpwstr/>
  </property>
  <property fmtid="{D5CDD505-2E9C-101B-9397-08002B2CF9AE}" pid="6" name="ComplianceAssetId">
    <vt:lpwstr/>
  </property>
  <property fmtid="{D5CDD505-2E9C-101B-9397-08002B2CF9AE}" pid="7" name="TemplateUrl">
    <vt:lpwstr/>
  </property>
  <property fmtid="{D5CDD505-2E9C-101B-9397-08002B2CF9AE}" pid="8" name="_ExtendedDescription">
    <vt:lpwstr/>
  </property>
  <property fmtid="{D5CDD505-2E9C-101B-9397-08002B2CF9AE}" pid="9" name="TriggerFlowInfo">
    <vt:lpwstr/>
  </property>
  <property fmtid="{D5CDD505-2E9C-101B-9397-08002B2CF9AE}" pid="10" name="xd_Signature">
    <vt:bool>false</vt:bool>
  </property>
</Properties>
</file>